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2.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notesSlides/notesSlide1.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3" r:id="rId4"/>
    <p:sldMasterId id="2147483813" r:id="rId5"/>
  </p:sldMasterIdLst>
  <p:notesMasterIdLst>
    <p:notesMasterId r:id="rId25"/>
  </p:notesMasterIdLst>
  <p:handoutMasterIdLst>
    <p:handoutMasterId r:id="rId26"/>
  </p:handoutMasterIdLst>
  <p:sldIdLst>
    <p:sldId id="268" r:id="rId6"/>
    <p:sldId id="638" r:id="rId7"/>
    <p:sldId id="639" r:id="rId8"/>
    <p:sldId id="750" r:id="rId9"/>
    <p:sldId id="640" r:id="rId10"/>
    <p:sldId id="751" r:id="rId11"/>
    <p:sldId id="624" r:id="rId12"/>
    <p:sldId id="637" r:id="rId13"/>
    <p:sldId id="759" r:id="rId14"/>
    <p:sldId id="752" r:id="rId15"/>
    <p:sldId id="753" r:id="rId16"/>
    <p:sldId id="755" r:id="rId17"/>
    <p:sldId id="754" r:id="rId18"/>
    <p:sldId id="756" r:id="rId19"/>
    <p:sldId id="757" r:id="rId20"/>
    <p:sldId id="758" r:id="rId21"/>
    <p:sldId id="760" r:id="rId22"/>
    <p:sldId id="428" r:id="rId23"/>
    <p:sldId id="452" r:id="rId24"/>
  </p:sldIdLst>
  <p:sldSz cx="12192000" cy="6858000"/>
  <p:notesSz cx="6797675" cy="9926638"/>
  <p:custDataLst>
    <p:tags r:id="rId27"/>
  </p:custDataLst>
  <p:defaultTex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022"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E5EE"/>
    <a:srgbClr val="D5E5EF"/>
    <a:srgbClr val="DEEBF4"/>
    <a:srgbClr val="EEF5F9"/>
    <a:srgbClr val="E9F2F7"/>
    <a:srgbClr val="D4E5F0"/>
    <a:srgbClr val="E7E6E6"/>
    <a:srgbClr val="FCE3D4"/>
    <a:srgbClr val="E389A0"/>
    <a:srgbClr val="FBD5B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DFEAC1-B569-4710-AB8B-EF8A09D7FE6A}" v="1296" dt="2021-06-24T14:56:30.156"/>
    <p1510:client id="{1D271E6F-654A-444A-9CD0-A95E0FA8E0F6}" v="481" dt="2021-06-25T21:53:36.082"/>
    <p1510:client id="{2F0FBBA4-6481-4D41-87FB-9DB623CE4AA8}" v="6092" dt="2021-06-25T14:08:00.971"/>
    <p1510:client id="{2B1B45CD-5C9A-4FA7-8F94-B3CC640E8BBB}" v="614" dt="2021-06-24T13:13:28.145"/>
    <p1510:client id="{52D2FE29-C9E6-46C7-BE62-1DE9E2E6DF1C}" v="453" dt="2021-06-24T16:40:17.358"/>
    <p1510:client id="{5982AAEE-950B-4E52-8920-56A0A44002A4}" v="211" dt="2021-06-25T09:27:26.063"/>
    <p1510:client id="{767E9032-7BF3-6E5F-3F6C-6458B4A74D68}" v="195" dt="2021-07-02T07:53:11.545"/>
    <p1510:client id="{77DD86A6-2304-E7E0-EC68-A90832D5C402}" v="40" dt="2021-07-02T07:56:24.537"/>
    <p1510:client id="{8B431E1D-2BB0-4305-A2B5-BA237987B9E3}" v="272" dt="2021-06-25T16:44:30.282"/>
    <p1510:client id="{8F6C570B-1AAE-407C-8369-E62E2C1469CF}" v="1703" dt="2021-06-26T16:37:35.323"/>
    <p1510:client id="{9983369F-3BD2-EDE2-AA48-F4E63D43C88A}" v="1729" dt="2021-06-28T15:15:21.531"/>
    <p1510:client id="{B0939984-8999-DA9E-A9B5-91C5EF4850B5}" v="608" dt="2021-06-29T16:22:30.664"/>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F1AB2-1976-4502-BF36-3FF5EA218861}" styleName="Estilo medio 4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6D9F66E-5EB9-4882-86FB-DCBF35E3C3E4}" styleName="Estilo medio 4 - Énfasis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AF606853-7671-496A-8E4F-DF71F8EC918B}" styleName="Estilo oscuro 1 - Énfasis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Estilo oscuro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Estilo oscuro 2 - Énfasis 5/Énfasis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85BE263C-DBD7-4A20-BB59-AAB30ACAA65A}" styleName="Estilo medio 3 - Énfasis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Estilo medio 3 - Énfasis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EB9631B5-78F2-41C9-869B-9F39066F8104}" styleName="Estilo medio 3 - Énfasis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8EC20E35-A176-4012-BC5E-935CFFF8708E}" styleName="Estilo medio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2" d="100"/>
          <a:sy n="82" d="100"/>
        </p:scale>
        <p:origin x="691" y="62"/>
      </p:cViewPr>
      <p:guideLst>
        <p:guide orient="horz" pos="3022"/>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ags" Target="tags/tag1.xml"/><Relationship Id="rId30" Type="http://schemas.openxmlformats.org/officeDocument/2006/relationships/theme" Target="theme/theme1.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ntursi, Massimo" userId="S::mcontursi@minsait.com::c11fe434-fa63-4734-8d01-c2285712721e" providerId="AD" clId="Web-{5982AAEE-950B-4E52-8920-56A0A44002A4}"/>
    <pc:docChg chg="addSld modSld">
      <pc:chgData name="Contursi, Massimo" userId="S::mcontursi@minsait.com::c11fe434-fa63-4734-8d01-c2285712721e" providerId="AD" clId="Web-{5982AAEE-950B-4E52-8920-56A0A44002A4}" dt="2021-06-25T09:27:26.063" v="138" actId="1076"/>
      <pc:docMkLst>
        <pc:docMk/>
      </pc:docMkLst>
      <pc:sldChg chg="addSp delSp modSp add replId">
        <pc:chgData name="Contursi, Massimo" userId="S::mcontursi@minsait.com::c11fe434-fa63-4734-8d01-c2285712721e" providerId="AD" clId="Web-{5982AAEE-950B-4E52-8920-56A0A44002A4}" dt="2021-06-25T09:27:26.063" v="138" actId="1076"/>
        <pc:sldMkLst>
          <pc:docMk/>
          <pc:sldMk cId="2689893574" sldId="675"/>
        </pc:sldMkLst>
        <pc:spChg chg="mod">
          <ac:chgData name="Contursi, Massimo" userId="S::mcontursi@minsait.com::c11fe434-fa63-4734-8d01-c2285712721e" providerId="AD" clId="Web-{5982AAEE-950B-4E52-8920-56A0A44002A4}" dt="2021-06-25T09:21:23.259" v="20" actId="20577"/>
          <ac:spMkLst>
            <pc:docMk/>
            <pc:sldMk cId="2689893574" sldId="675"/>
            <ac:spMk id="9" creationId="{92C4D6DD-881B-984A-9C92-27BA5BC27568}"/>
          </ac:spMkLst>
        </pc:spChg>
        <pc:spChg chg="mod">
          <ac:chgData name="Contursi, Massimo" userId="S::mcontursi@minsait.com::c11fe434-fa63-4734-8d01-c2285712721e" providerId="AD" clId="Web-{5982AAEE-950B-4E52-8920-56A0A44002A4}" dt="2021-06-25T09:26:35.484" v="127" actId="20577"/>
          <ac:spMkLst>
            <pc:docMk/>
            <pc:sldMk cId="2689893574" sldId="675"/>
            <ac:spMk id="12" creationId="{126D343F-9F75-40A1-8F58-8E64DF4C655C}"/>
          </ac:spMkLst>
        </pc:spChg>
        <pc:spChg chg="del mod">
          <ac:chgData name="Contursi, Massimo" userId="S::mcontursi@minsait.com::c11fe434-fa63-4734-8d01-c2285712721e" providerId="AD" clId="Web-{5982AAEE-950B-4E52-8920-56A0A44002A4}" dt="2021-06-25T09:22:12.385" v="62"/>
          <ac:spMkLst>
            <pc:docMk/>
            <pc:sldMk cId="2689893574" sldId="675"/>
            <ac:spMk id="13" creationId="{CB0E0B21-431D-4143-86D8-0637DECEBC49}"/>
          </ac:spMkLst>
        </pc:spChg>
        <pc:picChg chg="add del mod">
          <ac:chgData name="Contursi, Massimo" userId="S::mcontursi@minsait.com::c11fe434-fa63-4734-8d01-c2285712721e" providerId="AD" clId="Web-{5982AAEE-950B-4E52-8920-56A0A44002A4}" dt="2021-06-25T09:26:52.047" v="134"/>
          <ac:picMkLst>
            <pc:docMk/>
            <pc:sldMk cId="2689893574" sldId="675"/>
            <ac:picMk id="8" creationId="{616D9797-E258-4B4B-A7A7-4492E1A33AEB}"/>
          </ac:picMkLst>
        </pc:picChg>
        <pc:picChg chg="del">
          <ac:chgData name="Contursi, Massimo" userId="S::mcontursi@minsait.com::c11fe434-fa63-4734-8d01-c2285712721e" providerId="AD" clId="Web-{5982AAEE-950B-4E52-8920-56A0A44002A4}" dt="2021-06-25T09:21:56.557" v="55"/>
          <ac:picMkLst>
            <pc:docMk/>
            <pc:sldMk cId="2689893574" sldId="675"/>
            <ac:picMk id="15" creationId="{DFEB8AEC-249A-433D-A85A-2B34A3B4D1FC}"/>
          </ac:picMkLst>
        </pc:picChg>
        <pc:picChg chg="add mod">
          <ac:chgData name="Contursi, Massimo" userId="S::mcontursi@minsait.com::c11fe434-fa63-4734-8d01-c2285712721e" providerId="AD" clId="Web-{5982AAEE-950B-4E52-8920-56A0A44002A4}" dt="2021-06-25T09:27:26.063" v="138" actId="1076"/>
          <ac:picMkLst>
            <pc:docMk/>
            <pc:sldMk cId="2689893574" sldId="675"/>
            <ac:picMk id="16" creationId="{6B258EA3-9841-460E-BA93-B044F285141D}"/>
          </ac:picMkLst>
        </pc:picChg>
      </pc:sldChg>
      <pc:sldChg chg="add replId">
        <pc:chgData name="Contursi, Massimo" userId="S::mcontursi@minsait.com::c11fe434-fa63-4734-8d01-c2285712721e" providerId="AD" clId="Web-{5982AAEE-950B-4E52-8920-56A0A44002A4}" dt="2021-06-25T09:15:26.721" v="1"/>
        <pc:sldMkLst>
          <pc:docMk/>
          <pc:sldMk cId="282654030" sldId="676"/>
        </pc:sldMkLst>
      </pc:sldChg>
      <pc:sldChg chg="add replId">
        <pc:chgData name="Contursi, Massimo" userId="S::mcontursi@minsait.com::c11fe434-fa63-4734-8d01-c2285712721e" providerId="AD" clId="Web-{5982AAEE-950B-4E52-8920-56A0A44002A4}" dt="2021-06-25T09:15:29.174" v="2"/>
        <pc:sldMkLst>
          <pc:docMk/>
          <pc:sldMk cId="2894545093" sldId="677"/>
        </pc:sldMkLst>
      </pc:sldChg>
    </pc:docChg>
  </pc:docChgLst>
  <pc:docChgLst>
    <pc:chgData name="Contursi, Massimo" userId="S::mcontursi@minsait.com::c11fe434-fa63-4734-8d01-c2285712721e" providerId="AD" clId="Web-{B0939984-8999-DA9E-A9B5-91C5EF4850B5}"/>
    <pc:docChg chg="addSld delSld modSld sldOrd">
      <pc:chgData name="Contursi, Massimo" userId="S::mcontursi@minsait.com::c11fe434-fa63-4734-8d01-c2285712721e" providerId="AD" clId="Web-{B0939984-8999-DA9E-A9B5-91C5EF4850B5}" dt="2021-06-29T16:22:30.664" v="472" actId="20577"/>
      <pc:docMkLst>
        <pc:docMk/>
      </pc:docMkLst>
      <pc:sldChg chg="modSp">
        <pc:chgData name="Contursi, Massimo" userId="S::mcontursi@minsait.com::c11fe434-fa63-4734-8d01-c2285712721e" providerId="AD" clId="Web-{B0939984-8999-DA9E-A9B5-91C5EF4850B5}" dt="2021-06-29T14:41:53.211" v="62" actId="20577"/>
        <pc:sldMkLst>
          <pc:docMk/>
          <pc:sldMk cId="2013807645" sldId="569"/>
        </pc:sldMkLst>
        <pc:spChg chg="mod">
          <ac:chgData name="Contursi, Massimo" userId="S::mcontursi@minsait.com::c11fe434-fa63-4734-8d01-c2285712721e" providerId="AD" clId="Web-{B0939984-8999-DA9E-A9B5-91C5EF4850B5}" dt="2021-06-29T14:41:53.211" v="62" actId="20577"/>
          <ac:spMkLst>
            <pc:docMk/>
            <pc:sldMk cId="2013807645" sldId="569"/>
            <ac:spMk id="9" creationId="{92C4D6DD-881B-984A-9C92-27BA5BC27568}"/>
          </ac:spMkLst>
        </pc:spChg>
      </pc:sldChg>
      <pc:sldChg chg="modSp">
        <pc:chgData name="Contursi, Massimo" userId="S::mcontursi@minsait.com::c11fe434-fa63-4734-8d01-c2285712721e" providerId="AD" clId="Web-{B0939984-8999-DA9E-A9B5-91C5EF4850B5}" dt="2021-06-29T08:25:25.532" v="3" actId="20577"/>
        <pc:sldMkLst>
          <pc:docMk/>
          <pc:sldMk cId="537546978" sldId="624"/>
        </pc:sldMkLst>
        <pc:spChg chg="mod">
          <ac:chgData name="Contursi, Massimo" userId="S::mcontursi@minsait.com::c11fe434-fa63-4734-8d01-c2285712721e" providerId="AD" clId="Web-{B0939984-8999-DA9E-A9B5-91C5EF4850B5}" dt="2021-06-29T08:25:25.532" v="3" actId="20577"/>
          <ac:spMkLst>
            <pc:docMk/>
            <pc:sldMk cId="537546978" sldId="624"/>
            <ac:spMk id="4" creationId="{00000000-0000-0000-0000-000000000000}"/>
          </ac:spMkLst>
        </pc:spChg>
      </pc:sldChg>
      <pc:sldChg chg="modSp">
        <pc:chgData name="Contursi, Massimo" userId="S::mcontursi@minsait.com::c11fe434-fa63-4734-8d01-c2285712721e" providerId="AD" clId="Web-{B0939984-8999-DA9E-A9B5-91C5EF4850B5}" dt="2021-06-29T08:25:18.704" v="1" actId="20577"/>
        <pc:sldMkLst>
          <pc:docMk/>
          <pc:sldMk cId="1378539665" sldId="638"/>
        </pc:sldMkLst>
        <pc:spChg chg="mod">
          <ac:chgData name="Contursi, Massimo" userId="S::mcontursi@minsait.com::c11fe434-fa63-4734-8d01-c2285712721e" providerId="AD" clId="Web-{B0939984-8999-DA9E-A9B5-91C5EF4850B5}" dt="2021-06-29T08:25:18.704" v="1" actId="20577"/>
          <ac:spMkLst>
            <pc:docMk/>
            <pc:sldMk cId="1378539665" sldId="638"/>
            <ac:spMk id="4" creationId="{00000000-0000-0000-0000-000000000000}"/>
          </ac:spMkLst>
        </pc:spChg>
      </pc:sldChg>
      <pc:sldChg chg="modSp">
        <pc:chgData name="Contursi, Massimo" userId="S::mcontursi@minsait.com::c11fe434-fa63-4734-8d01-c2285712721e" providerId="AD" clId="Web-{B0939984-8999-DA9E-A9B5-91C5EF4850B5}" dt="2021-06-29T08:25:44.783" v="14" actId="20577"/>
        <pc:sldMkLst>
          <pc:docMk/>
          <pc:sldMk cId="2861900752" sldId="641"/>
        </pc:sldMkLst>
        <pc:spChg chg="mod">
          <ac:chgData name="Contursi, Massimo" userId="S::mcontursi@minsait.com::c11fe434-fa63-4734-8d01-c2285712721e" providerId="AD" clId="Web-{B0939984-8999-DA9E-A9B5-91C5EF4850B5}" dt="2021-06-29T08:25:44.783" v="14" actId="20577"/>
          <ac:spMkLst>
            <pc:docMk/>
            <pc:sldMk cId="2861900752" sldId="641"/>
            <ac:spMk id="4" creationId="{00000000-0000-0000-0000-000000000000}"/>
          </ac:spMkLst>
        </pc:spChg>
      </pc:sldChg>
      <pc:sldChg chg="del">
        <pc:chgData name="Contursi, Massimo" userId="S::mcontursi@minsait.com::c11fe434-fa63-4734-8d01-c2285712721e" providerId="AD" clId="Web-{B0939984-8999-DA9E-A9B5-91C5EF4850B5}" dt="2021-06-29T09:48:51.097" v="21"/>
        <pc:sldMkLst>
          <pc:docMk/>
          <pc:sldMk cId="2953705859" sldId="660"/>
        </pc:sldMkLst>
      </pc:sldChg>
      <pc:sldChg chg="del">
        <pc:chgData name="Contursi, Massimo" userId="S::mcontursi@minsait.com::c11fe434-fa63-4734-8d01-c2285712721e" providerId="AD" clId="Web-{B0939984-8999-DA9E-A9B5-91C5EF4850B5}" dt="2021-06-29T09:48:56.706" v="22"/>
        <pc:sldMkLst>
          <pc:docMk/>
          <pc:sldMk cId="485171404" sldId="662"/>
        </pc:sldMkLst>
      </pc:sldChg>
      <pc:sldChg chg="modSp">
        <pc:chgData name="Contursi, Massimo" userId="S::mcontursi@minsait.com::c11fe434-fa63-4734-8d01-c2285712721e" providerId="AD" clId="Web-{B0939984-8999-DA9E-A9B5-91C5EF4850B5}" dt="2021-06-29T14:13:18.208" v="35" actId="20577"/>
        <pc:sldMkLst>
          <pc:docMk/>
          <pc:sldMk cId="3644919368" sldId="686"/>
        </pc:sldMkLst>
        <pc:spChg chg="mod">
          <ac:chgData name="Contursi, Massimo" userId="S::mcontursi@minsait.com::c11fe434-fa63-4734-8d01-c2285712721e" providerId="AD" clId="Web-{B0939984-8999-DA9E-A9B5-91C5EF4850B5}" dt="2021-06-29T14:13:18.208" v="35" actId="20577"/>
          <ac:spMkLst>
            <pc:docMk/>
            <pc:sldMk cId="3644919368" sldId="686"/>
            <ac:spMk id="8" creationId="{FFE22963-DD57-4FEF-A28D-9FD4C1EB2707}"/>
          </ac:spMkLst>
        </pc:spChg>
      </pc:sldChg>
      <pc:sldChg chg="modSp">
        <pc:chgData name="Contursi, Massimo" userId="S::mcontursi@minsait.com::c11fe434-fa63-4734-8d01-c2285712721e" providerId="AD" clId="Web-{B0939984-8999-DA9E-A9B5-91C5EF4850B5}" dt="2021-06-29T08:25:34.751" v="8" actId="20577"/>
        <pc:sldMkLst>
          <pc:docMk/>
          <pc:sldMk cId="2683909748" sldId="701"/>
        </pc:sldMkLst>
        <pc:spChg chg="mod">
          <ac:chgData name="Contursi, Massimo" userId="S::mcontursi@minsait.com::c11fe434-fa63-4734-8d01-c2285712721e" providerId="AD" clId="Web-{B0939984-8999-DA9E-A9B5-91C5EF4850B5}" dt="2021-06-29T08:25:34.751" v="8" actId="20577"/>
          <ac:spMkLst>
            <pc:docMk/>
            <pc:sldMk cId="2683909748" sldId="701"/>
            <ac:spMk id="4" creationId="{00000000-0000-0000-0000-000000000000}"/>
          </ac:spMkLst>
        </pc:spChg>
      </pc:sldChg>
      <pc:sldChg chg="modSp">
        <pc:chgData name="Contursi, Massimo" userId="S::mcontursi@minsait.com::c11fe434-fa63-4734-8d01-c2285712721e" providerId="AD" clId="Web-{B0939984-8999-DA9E-A9B5-91C5EF4850B5}" dt="2021-06-29T08:25:44.611" v="13" actId="20577"/>
        <pc:sldMkLst>
          <pc:docMk/>
          <pc:sldMk cId="1954758856" sldId="702"/>
        </pc:sldMkLst>
        <pc:spChg chg="mod">
          <ac:chgData name="Contursi, Massimo" userId="S::mcontursi@minsait.com::c11fe434-fa63-4734-8d01-c2285712721e" providerId="AD" clId="Web-{B0939984-8999-DA9E-A9B5-91C5EF4850B5}" dt="2021-06-29T08:25:44.611" v="13" actId="20577"/>
          <ac:spMkLst>
            <pc:docMk/>
            <pc:sldMk cId="1954758856" sldId="702"/>
            <ac:spMk id="4" creationId="{00000000-0000-0000-0000-000000000000}"/>
          </ac:spMkLst>
        </pc:spChg>
      </pc:sldChg>
      <pc:sldChg chg="del">
        <pc:chgData name="Contursi, Massimo" userId="S::mcontursi@minsait.com::c11fe434-fa63-4734-8d01-c2285712721e" providerId="AD" clId="Web-{B0939984-8999-DA9E-A9B5-91C5EF4850B5}" dt="2021-06-29T14:41:28.992" v="60"/>
        <pc:sldMkLst>
          <pc:docMk/>
          <pc:sldMk cId="3307362375" sldId="733"/>
        </pc:sldMkLst>
      </pc:sldChg>
      <pc:sldChg chg="del">
        <pc:chgData name="Contursi, Massimo" userId="S::mcontursi@minsait.com::c11fe434-fa63-4734-8d01-c2285712721e" providerId="AD" clId="Web-{B0939984-8999-DA9E-A9B5-91C5EF4850B5}" dt="2021-06-29T14:41:28.960" v="59"/>
        <pc:sldMkLst>
          <pc:docMk/>
          <pc:sldMk cId="419870809" sldId="734"/>
        </pc:sldMkLst>
      </pc:sldChg>
      <pc:sldChg chg="del">
        <pc:chgData name="Contursi, Massimo" userId="S::mcontursi@minsait.com::c11fe434-fa63-4734-8d01-c2285712721e" providerId="AD" clId="Web-{B0939984-8999-DA9E-A9B5-91C5EF4850B5}" dt="2021-06-29T14:41:28.945" v="58"/>
        <pc:sldMkLst>
          <pc:docMk/>
          <pc:sldMk cId="3937135247" sldId="735"/>
        </pc:sldMkLst>
      </pc:sldChg>
      <pc:sldChg chg="del">
        <pc:chgData name="Contursi, Massimo" userId="S::mcontursi@minsait.com::c11fe434-fa63-4734-8d01-c2285712721e" providerId="AD" clId="Web-{B0939984-8999-DA9E-A9B5-91C5EF4850B5}" dt="2021-06-29T14:41:28.914" v="57"/>
        <pc:sldMkLst>
          <pc:docMk/>
          <pc:sldMk cId="210188985" sldId="736"/>
        </pc:sldMkLst>
      </pc:sldChg>
      <pc:sldChg chg="del">
        <pc:chgData name="Contursi, Massimo" userId="S::mcontursi@minsait.com::c11fe434-fa63-4734-8d01-c2285712721e" providerId="AD" clId="Web-{B0939984-8999-DA9E-A9B5-91C5EF4850B5}" dt="2021-06-29T14:41:28.882" v="56"/>
        <pc:sldMkLst>
          <pc:docMk/>
          <pc:sldMk cId="3646997360" sldId="737"/>
        </pc:sldMkLst>
      </pc:sldChg>
      <pc:sldChg chg="del">
        <pc:chgData name="Contursi, Massimo" userId="S::mcontursi@minsait.com::c11fe434-fa63-4734-8d01-c2285712721e" providerId="AD" clId="Web-{B0939984-8999-DA9E-A9B5-91C5EF4850B5}" dt="2021-06-29T14:41:28.851" v="55"/>
        <pc:sldMkLst>
          <pc:docMk/>
          <pc:sldMk cId="2911752510" sldId="738"/>
        </pc:sldMkLst>
      </pc:sldChg>
      <pc:sldChg chg="modSp del">
        <pc:chgData name="Contursi, Massimo" userId="S::mcontursi@minsait.com::c11fe434-fa63-4734-8d01-c2285712721e" providerId="AD" clId="Web-{B0939984-8999-DA9E-A9B5-91C5EF4850B5}" dt="2021-06-29T14:41:28.804" v="53"/>
        <pc:sldMkLst>
          <pc:docMk/>
          <pc:sldMk cId="1059808682" sldId="739"/>
        </pc:sldMkLst>
        <pc:spChg chg="mod">
          <ac:chgData name="Contursi, Massimo" userId="S::mcontursi@minsait.com::c11fe434-fa63-4734-8d01-c2285712721e" providerId="AD" clId="Web-{B0939984-8999-DA9E-A9B5-91C5EF4850B5}" dt="2021-06-29T14:32:05.559" v="36" actId="20577"/>
          <ac:spMkLst>
            <pc:docMk/>
            <pc:sldMk cId="1059808682" sldId="739"/>
            <ac:spMk id="8" creationId="{7894DFE1-AFEB-459A-BD3A-2FDF075AB636}"/>
          </ac:spMkLst>
        </pc:spChg>
      </pc:sldChg>
      <pc:sldChg chg="del">
        <pc:chgData name="Contursi, Massimo" userId="S::mcontursi@minsait.com::c11fe434-fa63-4734-8d01-c2285712721e" providerId="AD" clId="Web-{B0939984-8999-DA9E-A9B5-91C5EF4850B5}" dt="2021-06-29T14:41:28.820" v="54"/>
        <pc:sldMkLst>
          <pc:docMk/>
          <pc:sldMk cId="1819070389" sldId="740"/>
        </pc:sldMkLst>
      </pc:sldChg>
      <pc:sldChg chg="modSp">
        <pc:chgData name="Contursi, Massimo" userId="S::mcontursi@minsait.com::c11fe434-fa63-4734-8d01-c2285712721e" providerId="AD" clId="Web-{B0939984-8999-DA9E-A9B5-91C5EF4850B5}" dt="2021-06-29T08:26:15.096" v="20" actId="20577"/>
        <pc:sldMkLst>
          <pc:docMk/>
          <pc:sldMk cId="3550885704" sldId="741"/>
        </pc:sldMkLst>
        <pc:spChg chg="mod">
          <ac:chgData name="Contursi, Massimo" userId="S::mcontursi@minsait.com::c11fe434-fa63-4734-8d01-c2285712721e" providerId="AD" clId="Web-{B0939984-8999-DA9E-A9B5-91C5EF4850B5}" dt="2021-06-29T08:26:15.096" v="20" actId="20577"/>
          <ac:spMkLst>
            <pc:docMk/>
            <pc:sldMk cId="3550885704" sldId="741"/>
            <ac:spMk id="9" creationId="{92C4D6DD-881B-984A-9C92-27BA5BC27568}"/>
          </ac:spMkLst>
        </pc:spChg>
      </pc:sldChg>
      <pc:sldChg chg="delSp add replId">
        <pc:chgData name="Contursi, Massimo" userId="S::mcontursi@minsait.com::c11fe434-fa63-4734-8d01-c2285712721e" providerId="AD" clId="Web-{B0939984-8999-DA9E-A9B5-91C5EF4850B5}" dt="2021-06-29T14:40:51.678" v="52"/>
        <pc:sldMkLst>
          <pc:docMk/>
          <pc:sldMk cId="1925421200" sldId="742"/>
        </pc:sldMkLst>
        <pc:picChg chg="del">
          <ac:chgData name="Contursi, Massimo" userId="S::mcontursi@minsait.com::c11fe434-fa63-4734-8d01-c2285712721e" providerId="AD" clId="Web-{B0939984-8999-DA9E-A9B5-91C5EF4850B5}" dt="2021-06-29T14:40:51.678" v="52"/>
          <ac:picMkLst>
            <pc:docMk/>
            <pc:sldMk cId="1925421200" sldId="742"/>
            <ac:picMk id="13" creationId="{86E8B317-46D6-4F4C-8ACF-8C7D6430EA23}"/>
          </ac:picMkLst>
        </pc:picChg>
      </pc:sldChg>
      <pc:sldChg chg="delSp add replId">
        <pc:chgData name="Contursi, Massimo" userId="S::mcontursi@minsait.com::c11fe434-fa63-4734-8d01-c2285712721e" providerId="AD" clId="Web-{B0939984-8999-DA9E-A9B5-91C5EF4850B5}" dt="2021-06-29T14:40:42.444" v="51"/>
        <pc:sldMkLst>
          <pc:docMk/>
          <pc:sldMk cId="3686161045" sldId="743"/>
        </pc:sldMkLst>
        <pc:picChg chg="del">
          <ac:chgData name="Contursi, Massimo" userId="S::mcontursi@minsait.com::c11fe434-fa63-4734-8d01-c2285712721e" providerId="AD" clId="Web-{B0939984-8999-DA9E-A9B5-91C5EF4850B5}" dt="2021-06-29T14:40:42.444" v="51"/>
          <ac:picMkLst>
            <pc:docMk/>
            <pc:sldMk cId="3686161045" sldId="743"/>
            <ac:picMk id="13" creationId="{86E8B317-46D6-4F4C-8ACF-8C7D6430EA23}"/>
          </ac:picMkLst>
        </pc:picChg>
      </pc:sldChg>
      <pc:sldChg chg="delSp add replId">
        <pc:chgData name="Contursi, Massimo" userId="S::mcontursi@minsait.com::c11fe434-fa63-4734-8d01-c2285712721e" providerId="AD" clId="Web-{B0939984-8999-DA9E-A9B5-91C5EF4850B5}" dt="2021-06-29T14:40:41.272" v="50"/>
        <pc:sldMkLst>
          <pc:docMk/>
          <pc:sldMk cId="3709290959" sldId="744"/>
        </pc:sldMkLst>
        <pc:picChg chg="del">
          <ac:chgData name="Contursi, Massimo" userId="S::mcontursi@minsait.com::c11fe434-fa63-4734-8d01-c2285712721e" providerId="AD" clId="Web-{B0939984-8999-DA9E-A9B5-91C5EF4850B5}" dt="2021-06-29T14:40:41.272" v="50"/>
          <ac:picMkLst>
            <pc:docMk/>
            <pc:sldMk cId="3709290959" sldId="744"/>
            <ac:picMk id="13" creationId="{86E8B317-46D6-4F4C-8ACF-8C7D6430EA23}"/>
          </ac:picMkLst>
        </pc:picChg>
      </pc:sldChg>
      <pc:sldChg chg="delSp add replId">
        <pc:chgData name="Contursi, Massimo" userId="S::mcontursi@minsait.com::c11fe434-fa63-4734-8d01-c2285712721e" providerId="AD" clId="Web-{B0939984-8999-DA9E-A9B5-91C5EF4850B5}" dt="2021-06-29T14:40:41.131" v="49"/>
        <pc:sldMkLst>
          <pc:docMk/>
          <pc:sldMk cId="3422680601" sldId="745"/>
        </pc:sldMkLst>
        <pc:picChg chg="del">
          <ac:chgData name="Contursi, Massimo" userId="S::mcontursi@minsait.com::c11fe434-fa63-4734-8d01-c2285712721e" providerId="AD" clId="Web-{B0939984-8999-DA9E-A9B5-91C5EF4850B5}" dt="2021-06-29T14:40:41.131" v="49"/>
          <ac:picMkLst>
            <pc:docMk/>
            <pc:sldMk cId="3422680601" sldId="745"/>
            <ac:picMk id="13" creationId="{86E8B317-46D6-4F4C-8ACF-8C7D6430EA23}"/>
          </ac:picMkLst>
        </pc:picChg>
      </pc:sldChg>
      <pc:sldChg chg="delSp add replId">
        <pc:chgData name="Contursi, Massimo" userId="S::mcontursi@minsait.com::c11fe434-fa63-4734-8d01-c2285712721e" providerId="AD" clId="Web-{B0939984-8999-DA9E-A9B5-91C5EF4850B5}" dt="2021-06-29T14:40:31.006" v="48"/>
        <pc:sldMkLst>
          <pc:docMk/>
          <pc:sldMk cId="994342964" sldId="746"/>
        </pc:sldMkLst>
        <pc:picChg chg="del">
          <ac:chgData name="Contursi, Massimo" userId="S::mcontursi@minsait.com::c11fe434-fa63-4734-8d01-c2285712721e" providerId="AD" clId="Web-{B0939984-8999-DA9E-A9B5-91C5EF4850B5}" dt="2021-06-29T14:40:31.006" v="48"/>
          <ac:picMkLst>
            <pc:docMk/>
            <pc:sldMk cId="994342964" sldId="746"/>
            <ac:picMk id="13" creationId="{86E8B317-46D6-4F4C-8ACF-8C7D6430EA23}"/>
          </ac:picMkLst>
        </pc:picChg>
      </pc:sldChg>
      <pc:sldChg chg="delSp add replId">
        <pc:chgData name="Contursi, Massimo" userId="S::mcontursi@minsait.com::c11fe434-fa63-4734-8d01-c2285712721e" providerId="AD" clId="Web-{B0939984-8999-DA9E-A9B5-91C5EF4850B5}" dt="2021-06-29T14:40:30.756" v="47"/>
        <pc:sldMkLst>
          <pc:docMk/>
          <pc:sldMk cId="3630273589" sldId="747"/>
        </pc:sldMkLst>
        <pc:picChg chg="del">
          <ac:chgData name="Contursi, Massimo" userId="S::mcontursi@minsait.com::c11fe434-fa63-4734-8d01-c2285712721e" providerId="AD" clId="Web-{B0939984-8999-DA9E-A9B5-91C5EF4850B5}" dt="2021-06-29T14:40:30.756" v="47"/>
          <ac:picMkLst>
            <pc:docMk/>
            <pc:sldMk cId="3630273589" sldId="747"/>
            <ac:picMk id="13" creationId="{86E8B317-46D6-4F4C-8ACF-8C7D6430EA23}"/>
          </ac:picMkLst>
        </pc:picChg>
      </pc:sldChg>
      <pc:sldChg chg="delSp add replId">
        <pc:chgData name="Contursi, Massimo" userId="S::mcontursi@minsait.com::c11fe434-fa63-4734-8d01-c2285712721e" providerId="AD" clId="Web-{B0939984-8999-DA9E-A9B5-91C5EF4850B5}" dt="2021-06-29T14:40:23.881" v="46"/>
        <pc:sldMkLst>
          <pc:docMk/>
          <pc:sldMk cId="3865459987" sldId="748"/>
        </pc:sldMkLst>
        <pc:picChg chg="del">
          <ac:chgData name="Contursi, Massimo" userId="S::mcontursi@minsait.com::c11fe434-fa63-4734-8d01-c2285712721e" providerId="AD" clId="Web-{B0939984-8999-DA9E-A9B5-91C5EF4850B5}" dt="2021-06-29T14:40:23.881" v="46"/>
          <ac:picMkLst>
            <pc:docMk/>
            <pc:sldMk cId="3865459987" sldId="748"/>
            <ac:picMk id="13" creationId="{86E8B317-46D6-4F4C-8ACF-8C7D6430EA23}"/>
          </ac:picMkLst>
        </pc:picChg>
      </pc:sldChg>
      <pc:sldChg chg="delSp add replId">
        <pc:chgData name="Contursi, Massimo" userId="S::mcontursi@minsait.com::c11fe434-fa63-4734-8d01-c2285712721e" providerId="AD" clId="Web-{B0939984-8999-DA9E-A9B5-91C5EF4850B5}" dt="2021-06-29T14:40:20.381" v="45"/>
        <pc:sldMkLst>
          <pc:docMk/>
          <pc:sldMk cId="3959568205" sldId="749"/>
        </pc:sldMkLst>
        <pc:picChg chg="del">
          <ac:chgData name="Contursi, Massimo" userId="S::mcontursi@minsait.com::c11fe434-fa63-4734-8d01-c2285712721e" providerId="AD" clId="Web-{B0939984-8999-DA9E-A9B5-91C5EF4850B5}" dt="2021-06-29T14:40:20.381" v="45"/>
          <ac:picMkLst>
            <pc:docMk/>
            <pc:sldMk cId="3959568205" sldId="749"/>
            <ac:picMk id="13" creationId="{86E8B317-46D6-4F4C-8ACF-8C7D6430EA23}"/>
          </ac:picMkLst>
        </pc:picChg>
      </pc:sldChg>
      <pc:sldChg chg="modSp add ord replId">
        <pc:chgData name="Contursi, Massimo" userId="S::mcontursi@minsait.com::c11fe434-fa63-4734-8d01-c2285712721e" providerId="AD" clId="Web-{B0939984-8999-DA9E-A9B5-91C5EF4850B5}" dt="2021-06-29T15:12:42.548" v="91"/>
        <pc:sldMkLst>
          <pc:docMk/>
          <pc:sldMk cId="4066403420" sldId="750"/>
        </pc:sldMkLst>
        <pc:spChg chg="mod">
          <ac:chgData name="Contursi, Massimo" userId="S::mcontursi@minsait.com::c11fe434-fa63-4734-8d01-c2285712721e" providerId="AD" clId="Web-{B0939984-8999-DA9E-A9B5-91C5EF4850B5}" dt="2021-06-29T15:12:07.765" v="73" actId="20577"/>
          <ac:spMkLst>
            <pc:docMk/>
            <pc:sldMk cId="4066403420" sldId="750"/>
            <ac:spMk id="3" creationId="{00000000-0000-0000-0000-000000000000}"/>
          </ac:spMkLst>
        </pc:spChg>
        <pc:spChg chg="mod">
          <ac:chgData name="Contursi, Massimo" userId="S::mcontursi@minsait.com::c11fe434-fa63-4734-8d01-c2285712721e" providerId="AD" clId="Web-{B0939984-8999-DA9E-A9B5-91C5EF4850B5}" dt="2021-06-29T15:12:07.827" v="74" actId="20577"/>
          <ac:spMkLst>
            <pc:docMk/>
            <pc:sldMk cId="4066403420" sldId="750"/>
            <ac:spMk id="4" creationId="{00000000-0000-0000-0000-000000000000}"/>
          </ac:spMkLst>
        </pc:spChg>
      </pc:sldChg>
      <pc:sldChg chg="addSp modSp add ord replId">
        <pc:chgData name="Contursi, Massimo" userId="S::mcontursi@minsait.com::c11fe434-fa63-4734-8d01-c2285712721e" providerId="AD" clId="Web-{B0939984-8999-DA9E-A9B5-91C5EF4850B5}" dt="2021-06-29T15:13:40.441" v="103" actId="1076"/>
        <pc:sldMkLst>
          <pc:docMk/>
          <pc:sldMk cId="2744476703" sldId="751"/>
        </pc:sldMkLst>
        <pc:spChg chg="mod">
          <ac:chgData name="Contursi, Massimo" userId="S::mcontursi@minsait.com::c11fe434-fa63-4734-8d01-c2285712721e" providerId="AD" clId="Web-{B0939984-8999-DA9E-A9B5-91C5EF4850B5}" dt="2021-06-29T15:13:16.112" v="98" actId="20577"/>
          <ac:spMkLst>
            <pc:docMk/>
            <pc:sldMk cId="2744476703" sldId="751"/>
            <ac:spMk id="4" creationId="{00000000-0000-0000-0000-000000000000}"/>
          </ac:spMkLst>
        </pc:spChg>
        <pc:spChg chg="mod">
          <ac:chgData name="Contursi, Massimo" userId="S::mcontursi@minsait.com::c11fe434-fa63-4734-8d01-c2285712721e" providerId="AD" clId="Web-{B0939984-8999-DA9E-A9B5-91C5EF4850B5}" dt="2021-06-29T15:12:30.422" v="89" actId="20577"/>
          <ac:spMkLst>
            <pc:docMk/>
            <pc:sldMk cId="2744476703" sldId="751"/>
            <ac:spMk id="6" creationId="{00000000-0000-0000-0000-000000000000}"/>
          </ac:spMkLst>
        </pc:spChg>
        <pc:spChg chg="mod">
          <ac:chgData name="Contursi, Massimo" userId="S::mcontursi@minsait.com::c11fe434-fa63-4734-8d01-c2285712721e" providerId="AD" clId="Web-{B0939984-8999-DA9E-A9B5-91C5EF4850B5}" dt="2021-06-29T15:12:41.157" v="90" actId="20577"/>
          <ac:spMkLst>
            <pc:docMk/>
            <pc:sldMk cId="2744476703" sldId="751"/>
            <ac:spMk id="9" creationId="{92C4D6DD-881B-984A-9C92-27BA5BC27568}"/>
          </ac:spMkLst>
        </pc:spChg>
        <pc:spChg chg="mod">
          <ac:chgData name="Contursi, Massimo" userId="S::mcontursi@minsait.com::c11fe434-fa63-4734-8d01-c2285712721e" providerId="AD" clId="Web-{B0939984-8999-DA9E-A9B5-91C5EF4850B5}" dt="2021-06-29T15:13:35.129" v="102" actId="1076"/>
          <ac:spMkLst>
            <pc:docMk/>
            <pc:sldMk cId="2744476703" sldId="751"/>
            <ac:spMk id="10" creationId="{8FFCB682-A2FC-CA4B-AF1F-9B44DC3872A4}"/>
          </ac:spMkLst>
        </pc:spChg>
        <pc:picChg chg="add mod">
          <ac:chgData name="Contursi, Massimo" userId="S::mcontursi@minsait.com::c11fe434-fa63-4734-8d01-c2285712721e" providerId="AD" clId="Web-{B0939984-8999-DA9E-A9B5-91C5EF4850B5}" dt="2021-06-29T15:13:40.441" v="103" actId="1076"/>
          <ac:picMkLst>
            <pc:docMk/>
            <pc:sldMk cId="2744476703" sldId="751"/>
            <ac:picMk id="7" creationId="{C7E46DEF-97A3-4C3B-89AF-8104FF519103}"/>
          </ac:picMkLst>
        </pc:picChg>
      </pc:sldChg>
      <pc:sldChg chg="addSp delSp modSp add replId">
        <pc:chgData name="Contursi, Massimo" userId="S::mcontursi@minsait.com::c11fe434-fa63-4734-8d01-c2285712721e" providerId="AD" clId="Web-{B0939984-8999-DA9E-A9B5-91C5EF4850B5}" dt="2021-06-29T15:14:16.881" v="146" actId="1076"/>
        <pc:sldMkLst>
          <pc:docMk/>
          <pc:sldMk cId="942708131" sldId="752"/>
        </pc:sldMkLst>
        <pc:spChg chg="mod">
          <ac:chgData name="Contursi, Massimo" userId="S::mcontursi@minsait.com::c11fe434-fa63-4734-8d01-c2285712721e" providerId="AD" clId="Web-{B0939984-8999-DA9E-A9B5-91C5EF4850B5}" dt="2021-06-29T15:14:01.146" v="141" actId="20577"/>
          <ac:spMkLst>
            <pc:docMk/>
            <pc:sldMk cId="942708131" sldId="752"/>
            <ac:spMk id="9" creationId="{92C4D6DD-881B-984A-9C92-27BA5BC27568}"/>
          </ac:spMkLst>
        </pc:spChg>
        <pc:picChg chg="del">
          <ac:chgData name="Contursi, Massimo" userId="S::mcontursi@minsait.com::c11fe434-fa63-4734-8d01-c2285712721e" providerId="AD" clId="Web-{B0939984-8999-DA9E-A9B5-91C5EF4850B5}" dt="2021-06-29T15:14:11.302" v="142"/>
          <ac:picMkLst>
            <pc:docMk/>
            <pc:sldMk cId="942708131" sldId="752"/>
            <ac:picMk id="7" creationId="{C7E46DEF-97A3-4C3B-89AF-8104FF519103}"/>
          </ac:picMkLst>
        </pc:picChg>
        <pc:picChg chg="add mod">
          <ac:chgData name="Contursi, Massimo" userId="S::mcontursi@minsait.com::c11fe434-fa63-4734-8d01-c2285712721e" providerId="AD" clId="Web-{B0939984-8999-DA9E-A9B5-91C5EF4850B5}" dt="2021-06-29T15:14:16.881" v="146" actId="1076"/>
          <ac:picMkLst>
            <pc:docMk/>
            <pc:sldMk cId="942708131" sldId="752"/>
            <ac:picMk id="12" creationId="{F05BB4ED-6DF1-40D3-95FD-D9690966DC09}"/>
          </ac:picMkLst>
        </pc:picChg>
      </pc:sldChg>
      <pc:sldChg chg="addSp delSp modSp add replId">
        <pc:chgData name="Contursi, Massimo" userId="S::mcontursi@minsait.com::c11fe434-fa63-4734-8d01-c2285712721e" providerId="AD" clId="Web-{B0939984-8999-DA9E-A9B5-91C5EF4850B5}" dt="2021-06-29T15:15:58.808" v="179" actId="14100"/>
        <pc:sldMkLst>
          <pc:docMk/>
          <pc:sldMk cId="1066702200" sldId="753"/>
        </pc:sldMkLst>
        <pc:spChg chg="add mod">
          <ac:chgData name="Contursi, Massimo" userId="S::mcontursi@minsait.com::c11fe434-fa63-4734-8d01-c2285712721e" providerId="AD" clId="Web-{B0939984-8999-DA9E-A9B5-91C5EF4850B5}" dt="2021-06-29T15:15:58.808" v="179" actId="14100"/>
          <ac:spMkLst>
            <pc:docMk/>
            <pc:sldMk cId="1066702200" sldId="753"/>
            <ac:spMk id="7" creationId="{BF5FAF92-985B-440D-88E7-3A970805061F}"/>
          </ac:spMkLst>
        </pc:spChg>
        <pc:picChg chg="del">
          <ac:chgData name="Contursi, Massimo" userId="S::mcontursi@minsait.com::c11fe434-fa63-4734-8d01-c2285712721e" providerId="AD" clId="Web-{B0939984-8999-DA9E-A9B5-91C5EF4850B5}" dt="2021-06-29T15:14:27.147" v="148"/>
          <ac:picMkLst>
            <pc:docMk/>
            <pc:sldMk cId="1066702200" sldId="753"/>
            <ac:picMk id="12" creationId="{F05BB4ED-6DF1-40D3-95FD-D9690966DC09}"/>
          </ac:picMkLst>
        </pc:picChg>
      </pc:sldChg>
      <pc:sldChg chg="modSp add replId">
        <pc:chgData name="Contursi, Massimo" userId="S::mcontursi@minsait.com::c11fe434-fa63-4734-8d01-c2285712721e" providerId="AD" clId="Web-{B0939984-8999-DA9E-A9B5-91C5EF4850B5}" dt="2021-06-29T15:17:26.875" v="206" actId="20577"/>
        <pc:sldMkLst>
          <pc:docMk/>
          <pc:sldMk cId="4173136604" sldId="754"/>
        </pc:sldMkLst>
        <pc:spChg chg="mod">
          <ac:chgData name="Contursi, Massimo" userId="S::mcontursi@minsait.com::c11fe434-fa63-4734-8d01-c2285712721e" providerId="AD" clId="Web-{B0939984-8999-DA9E-A9B5-91C5EF4850B5}" dt="2021-06-29T15:17:26.875" v="206" actId="20577"/>
          <ac:spMkLst>
            <pc:docMk/>
            <pc:sldMk cId="4173136604" sldId="754"/>
            <ac:spMk id="7" creationId="{BF5FAF92-985B-440D-88E7-3A970805061F}"/>
          </ac:spMkLst>
        </pc:spChg>
      </pc:sldChg>
      <pc:sldChg chg="addSp modSp add replId">
        <pc:chgData name="Contursi, Massimo" userId="S::mcontursi@minsait.com::c11fe434-fa63-4734-8d01-c2285712721e" providerId="AD" clId="Web-{B0939984-8999-DA9E-A9B5-91C5EF4850B5}" dt="2021-06-29T15:18:56.239" v="241" actId="14100"/>
        <pc:sldMkLst>
          <pc:docMk/>
          <pc:sldMk cId="4155596495" sldId="755"/>
        </pc:sldMkLst>
        <pc:spChg chg="mod">
          <ac:chgData name="Contursi, Massimo" userId="S::mcontursi@minsait.com::c11fe434-fa63-4734-8d01-c2285712721e" providerId="AD" clId="Web-{B0939984-8999-DA9E-A9B5-91C5EF4850B5}" dt="2021-06-29T15:18:25.316" v="238" actId="20577"/>
          <ac:spMkLst>
            <pc:docMk/>
            <pc:sldMk cId="4155596495" sldId="755"/>
            <ac:spMk id="7" creationId="{BF5FAF92-985B-440D-88E7-3A970805061F}"/>
          </ac:spMkLst>
        </pc:spChg>
        <pc:spChg chg="mod">
          <ac:chgData name="Contursi, Massimo" userId="S::mcontursi@minsait.com::c11fe434-fa63-4734-8d01-c2285712721e" providerId="AD" clId="Web-{B0939984-8999-DA9E-A9B5-91C5EF4850B5}" dt="2021-06-29T15:17:42.954" v="215" actId="20577"/>
          <ac:spMkLst>
            <pc:docMk/>
            <pc:sldMk cId="4155596495" sldId="755"/>
            <ac:spMk id="9" creationId="{92C4D6DD-881B-984A-9C92-27BA5BC27568}"/>
          </ac:spMkLst>
        </pc:spChg>
        <pc:picChg chg="add mod">
          <ac:chgData name="Contursi, Massimo" userId="S::mcontursi@minsait.com::c11fe434-fa63-4734-8d01-c2285712721e" providerId="AD" clId="Web-{B0939984-8999-DA9E-A9B5-91C5EF4850B5}" dt="2021-06-29T15:18:56.239" v="241" actId="14100"/>
          <ac:picMkLst>
            <pc:docMk/>
            <pc:sldMk cId="4155596495" sldId="755"/>
            <ac:picMk id="12" creationId="{9A934808-6EBB-47D0-BD88-990708786B30}"/>
          </ac:picMkLst>
        </pc:picChg>
      </pc:sldChg>
      <pc:sldChg chg="delSp modSp add replId">
        <pc:chgData name="Contursi, Massimo" userId="S::mcontursi@minsait.com::c11fe434-fa63-4734-8d01-c2285712721e" providerId="AD" clId="Web-{B0939984-8999-DA9E-A9B5-91C5EF4850B5}" dt="2021-06-29T15:20:12.415" v="272" actId="20577"/>
        <pc:sldMkLst>
          <pc:docMk/>
          <pc:sldMk cId="4287275749" sldId="756"/>
        </pc:sldMkLst>
        <pc:spChg chg="mod">
          <ac:chgData name="Contursi, Massimo" userId="S::mcontursi@minsait.com::c11fe434-fa63-4734-8d01-c2285712721e" providerId="AD" clId="Web-{B0939984-8999-DA9E-A9B5-91C5EF4850B5}" dt="2021-06-29T15:20:12.415" v="272" actId="20577"/>
          <ac:spMkLst>
            <pc:docMk/>
            <pc:sldMk cId="4287275749" sldId="756"/>
            <ac:spMk id="7" creationId="{BF5FAF92-985B-440D-88E7-3A970805061F}"/>
          </ac:spMkLst>
        </pc:spChg>
        <pc:picChg chg="del">
          <ac:chgData name="Contursi, Massimo" userId="S::mcontursi@minsait.com::c11fe434-fa63-4734-8d01-c2285712721e" providerId="AD" clId="Web-{B0939984-8999-DA9E-A9B5-91C5EF4850B5}" dt="2021-06-29T15:19:15.912" v="247"/>
          <ac:picMkLst>
            <pc:docMk/>
            <pc:sldMk cId="4287275749" sldId="756"/>
            <ac:picMk id="12" creationId="{9A934808-6EBB-47D0-BD88-990708786B30}"/>
          </ac:picMkLst>
        </pc:picChg>
      </pc:sldChg>
      <pc:sldChg chg="modSp add replId">
        <pc:chgData name="Contursi, Massimo" userId="S::mcontursi@minsait.com::c11fe434-fa63-4734-8d01-c2285712721e" providerId="AD" clId="Web-{B0939984-8999-DA9E-A9B5-91C5EF4850B5}" dt="2021-06-29T15:21:35.420" v="301" actId="20577"/>
        <pc:sldMkLst>
          <pc:docMk/>
          <pc:sldMk cId="3403190063" sldId="757"/>
        </pc:sldMkLst>
        <pc:spChg chg="mod">
          <ac:chgData name="Contursi, Massimo" userId="S::mcontursi@minsait.com::c11fe434-fa63-4734-8d01-c2285712721e" providerId="AD" clId="Web-{B0939984-8999-DA9E-A9B5-91C5EF4850B5}" dt="2021-06-29T15:21:35.420" v="301" actId="20577"/>
          <ac:spMkLst>
            <pc:docMk/>
            <pc:sldMk cId="3403190063" sldId="757"/>
            <ac:spMk id="7" creationId="{BF5FAF92-985B-440D-88E7-3A970805061F}"/>
          </ac:spMkLst>
        </pc:spChg>
      </pc:sldChg>
      <pc:sldChg chg="addSp modSp add replId">
        <pc:chgData name="Contursi, Massimo" userId="S::mcontursi@minsait.com::c11fe434-fa63-4734-8d01-c2285712721e" providerId="AD" clId="Web-{B0939984-8999-DA9E-A9B5-91C5EF4850B5}" dt="2021-06-29T15:26:24.763" v="328" actId="1076"/>
        <pc:sldMkLst>
          <pc:docMk/>
          <pc:sldMk cId="2838570196" sldId="758"/>
        </pc:sldMkLst>
        <pc:spChg chg="mod">
          <ac:chgData name="Contursi, Massimo" userId="S::mcontursi@minsait.com::c11fe434-fa63-4734-8d01-c2285712721e" providerId="AD" clId="Web-{B0939984-8999-DA9E-A9B5-91C5EF4850B5}" dt="2021-06-29T15:26:07.043" v="325" actId="20577"/>
          <ac:spMkLst>
            <pc:docMk/>
            <pc:sldMk cId="2838570196" sldId="758"/>
            <ac:spMk id="7" creationId="{BF5FAF92-985B-440D-88E7-3A970805061F}"/>
          </ac:spMkLst>
        </pc:spChg>
        <pc:spChg chg="mod">
          <ac:chgData name="Contursi, Massimo" userId="S::mcontursi@minsait.com::c11fe434-fa63-4734-8d01-c2285712721e" providerId="AD" clId="Web-{B0939984-8999-DA9E-A9B5-91C5EF4850B5}" dt="2021-06-29T15:23:24.378" v="309" actId="20577"/>
          <ac:spMkLst>
            <pc:docMk/>
            <pc:sldMk cId="2838570196" sldId="758"/>
            <ac:spMk id="9" creationId="{92C4D6DD-881B-984A-9C92-27BA5BC27568}"/>
          </ac:spMkLst>
        </pc:spChg>
        <pc:picChg chg="add mod">
          <ac:chgData name="Contursi, Massimo" userId="S::mcontursi@minsait.com::c11fe434-fa63-4734-8d01-c2285712721e" providerId="AD" clId="Web-{B0939984-8999-DA9E-A9B5-91C5EF4850B5}" dt="2021-06-29T15:26:24.763" v="328" actId="1076"/>
          <ac:picMkLst>
            <pc:docMk/>
            <pc:sldMk cId="2838570196" sldId="758"/>
            <ac:picMk id="12" creationId="{D0EA388C-DBE2-4DBD-98F8-50FB3ADE624F}"/>
          </ac:picMkLst>
        </pc:picChg>
      </pc:sldChg>
      <pc:sldChg chg="delSp modSp add replId">
        <pc:chgData name="Contursi, Massimo" userId="S::mcontursi@minsait.com::c11fe434-fa63-4734-8d01-c2285712721e" providerId="AD" clId="Web-{B0939984-8999-DA9E-A9B5-91C5EF4850B5}" dt="2021-06-29T15:44:34.982" v="357" actId="20577"/>
        <pc:sldMkLst>
          <pc:docMk/>
          <pc:sldMk cId="484333627" sldId="759"/>
        </pc:sldMkLst>
        <pc:spChg chg="mod">
          <ac:chgData name="Contursi, Massimo" userId="S::mcontursi@minsait.com::c11fe434-fa63-4734-8d01-c2285712721e" providerId="AD" clId="Web-{B0939984-8999-DA9E-A9B5-91C5EF4850B5}" dt="2021-06-29T15:44:34.982" v="357" actId="20577"/>
          <ac:spMkLst>
            <pc:docMk/>
            <pc:sldMk cId="484333627" sldId="759"/>
            <ac:spMk id="7" creationId="{BF5FAF92-985B-440D-88E7-3A970805061F}"/>
          </ac:spMkLst>
        </pc:spChg>
        <pc:spChg chg="mod">
          <ac:chgData name="Contursi, Massimo" userId="S::mcontursi@minsait.com::c11fe434-fa63-4734-8d01-c2285712721e" providerId="AD" clId="Web-{B0939984-8999-DA9E-A9B5-91C5EF4850B5}" dt="2021-06-29T15:26:45.592" v="331" actId="20577"/>
          <ac:spMkLst>
            <pc:docMk/>
            <pc:sldMk cId="484333627" sldId="759"/>
            <ac:spMk id="9" creationId="{92C4D6DD-881B-984A-9C92-27BA5BC27568}"/>
          </ac:spMkLst>
        </pc:spChg>
        <pc:picChg chg="del">
          <ac:chgData name="Contursi, Massimo" userId="S::mcontursi@minsait.com::c11fe434-fa63-4734-8d01-c2285712721e" providerId="AD" clId="Web-{B0939984-8999-DA9E-A9B5-91C5EF4850B5}" dt="2021-06-29T15:27:39.501" v="344"/>
          <ac:picMkLst>
            <pc:docMk/>
            <pc:sldMk cId="484333627" sldId="759"/>
            <ac:picMk id="12" creationId="{D0EA388C-DBE2-4DBD-98F8-50FB3ADE624F}"/>
          </ac:picMkLst>
        </pc:picChg>
      </pc:sldChg>
      <pc:sldChg chg="add replId">
        <pc:chgData name="Contursi, Massimo" userId="S::mcontursi@minsait.com::c11fe434-fa63-4734-8d01-c2285712721e" providerId="AD" clId="Web-{B0939984-8999-DA9E-A9B5-91C5EF4850B5}" dt="2021-06-29T15:59:05.373" v="358"/>
        <pc:sldMkLst>
          <pc:docMk/>
          <pc:sldMk cId="3061200058" sldId="760"/>
        </pc:sldMkLst>
      </pc:sldChg>
      <pc:sldChg chg="addSp modSp add replId">
        <pc:chgData name="Contursi, Massimo" userId="S::mcontursi@minsait.com::c11fe434-fa63-4734-8d01-c2285712721e" providerId="AD" clId="Web-{B0939984-8999-DA9E-A9B5-91C5EF4850B5}" dt="2021-06-29T16:10:20.088" v="373" actId="1076"/>
        <pc:sldMkLst>
          <pc:docMk/>
          <pc:sldMk cId="4021162247" sldId="761"/>
        </pc:sldMkLst>
        <pc:spChg chg="mod">
          <ac:chgData name="Contursi, Massimo" userId="S::mcontursi@minsait.com::c11fe434-fa63-4734-8d01-c2285712721e" providerId="AD" clId="Web-{B0939984-8999-DA9E-A9B5-91C5EF4850B5}" dt="2021-06-29T16:10:03.651" v="369" actId="20577"/>
          <ac:spMkLst>
            <pc:docMk/>
            <pc:sldMk cId="4021162247" sldId="761"/>
            <ac:spMk id="7" creationId="{BF5FAF92-985B-440D-88E7-3A970805061F}"/>
          </ac:spMkLst>
        </pc:spChg>
        <pc:spChg chg="mod">
          <ac:chgData name="Contursi, Massimo" userId="S::mcontursi@minsait.com::c11fe434-fa63-4734-8d01-c2285712721e" providerId="AD" clId="Web-{B0939984-8999-DA9E-A9B5-91C5EF4850B5}" dt="2021-06-29T16:09:58.260" v="367" actId="20577"/>
          <ac:spMkLst>
            <pc:docMk/>
            <pc:sldMk cId="4021162247" sldId="761"/>
            <ac:spMk id="9" creationId="{92C4D6DD-881B-984A-9C92-27BA5BC27568}"/>
          </ac:spMkLst>
        </pc:spChg>
        <pc:picChg chg="add mod">
          <ac:chgData name="Contursi, Massimo" userId="S::mcontursi@minsait.com::c11fe434-fa63-4734-8d01-c2285712721e" providerId="AD" clId="Web-{B0939984-8999-DA9E-A9B5-91C5EF4850B5}" dt="2021-06-29T16:10:20.088" v="373" actId="1076"/>
          <ac:picMkLst>
            <pc:docMk/>
            <pc:sldMk cId="4021162247" sldId="761"/>
            <ac:picMk id="12" creationId="{09321582-5ED9-4F67-994B-A5D81DA4CE31}"/>
          </ac:picMkLst>
        </pc:picChg>
      </pc:sldChg>
      <pc:sldChg chg="delSp modSp add replId">
        <pc:chgData name="Contursi, Massimo" userId="S::mcontursi@minsait.com::c11fe434-fa63-4734-8d01-c2285712721e" providerId="AD" clId="Web-{B0939984-8999-DA9E-A9B5-91C5EF4850B5}" dt="2021-06-29T16:11:41.480" v="401" actId="20577"/>
        <pc:sldMkLst>
          <pc:docMk/>
          <pc:sldMk cId="629847222" sldId="762"/>
        </pc:sldMkLst>
        <pc:spChg chg="mod">
          <ac:chgData name="Contursi, Massimo" userId="S::mcontursi@minsait.com::c11fe434-fa63-4734-8d01-c2285712721e" providerId="AD" clId="Web-{B0939984-8999-DA9E-A9B5-91C5EF4850B5}" dt="2021-06-29T16:11:41.480" v="401" actId="20577"/>
          <ac:spMkLst>
            <pc:docMk/>
            <pc:sldMk cId="629847222" sldId="762"/>
            <ac:spMk id="7" creationId="{BF5FAF92-985B-440D-88E7-3A970805061F}"/>
          </ac:spMkLst>
        </pc:spChg>
        <pc:spChg chg="mod">
          <ac:chgData name="Contursi, Massimo" userId="S::mcontursi@minsait.com::c11fe434-fa63-4734-8d01-c2285712721e" providerId="AD" clId="Web-{B0939984-8999-DA9E-A9B5-91C5EF4850B5}" dt="2021-06-29T16:10:42.323" v="377" actId="20577"/>
          <ac:spMkLst>
            <pc:docMk/>
            <pc:sldMk cId="629847222" sldId="762"/>
            <ac:spMk id="9" creationId="{92C4D6DD-881B-984A-9C92-27BA5BC27568}"/>
          </ac:spMkLst>
        </pc:spChg>
        <pc:picChg chg="del">
          <ac:chgData name="Contursi, Massimo" userId="S::mcontursi@minsait.com::c11fe434-fa63-4734-8d01-c2285712721e" providerId="AD" clId="Web-{B0939984-8999-DA9E-A9B5-91C5EF4850B5}" dt="2021-06-29T16:10:44.542" v="378"/>
          <ac:picMkLst>
            <pc:docMk/>
            <pc:sldMk cId="629847222" sldId="762"/>
            <ac:picMk id="12" creationId="{09321582-5ED9-4F67-994B-A5D81DA4CE31}"/>
          </ac:picMkLst>
        </pc:picChg>
      </pc:sldChg>
      <pc:sldChg chg="addSp modSp add replId">
        <pc:chgData name="Contursi, Massimo" userId="S::mcontursi@minsait.com::c11fe434-fa63-4734-8d01-c2285712721e" providerId="AD" clId="Web-{B0939984-8999-DA9E-A9B5-91C5EF4850B5}" dt="2021-06-29T16:17:01.814" v="417" actId="1076"/>
        <pc:sldMkLst>
          <pc:docMk/>
          <pc:sldMk cId="3426853550" sldId="763"/>
        </pc:sldMkLst>
        <pc:spChg chg="mod">
          <ac:chgData name="Contursi, Massimo" userId="S::mcontursi@minsait.com::c11fe434-fa63-4734-8d01-c2285712721e" providerId="AD" clId="Web-{B0939984-8999-DA9E-A9B5-91C5EF4850B5}" dt="2021-06-29T16:16:51.627" v="413" actId="20577"/>
          <ac:spMkLst>
            <pc:docMk/>
            <pc:sldMk cId="3426853550" sldId="763"/>
            <ac:spMk id="7" creationId="{BF5FAF92-985B-440D-88E7-3A970805061F}"/>
          </ac:spMkLst>
        </pc:spChg>
        <pc:spChg chg="mod">
          <ac:chgData name="Contursi, Massimo" userId="S::mcontursi@minsait.com::c11fe434-fa63-4734-8d01-c2285712721e" providerId="AD" clId="Web-{B0939984-8999-DA9E-A9B5-91C5EF4850B5}" dt="2021-06-29T16:16:33.642" v="411" actId="20577"/>
          <ac:spMkLst>
            <pc:docMk/>
            <pc:sldMk cId="3426853550" sldId="763"/>
            <ac:spMk id="9" creationId="{92C4D6DD-881B-984A-9C92-27BA5BC27568}"/>
          </ac:spMkLst>
        </pc:spChg>
        <pc:picChg chg="add mod">
          <ac:chgData name="Contursi, Massimo" userId="S::mcontursi@minsait.com::c11fe434-fa63-4734-8d01-c2285712721e" providerId="AD" clId="Web-{B0939984-8999-DA9E-A9B5-91C5EF4850B5}" dt="2021-06-29T16:17:01.814" v="417" actId="1076"/>
          <ac:picMkLst>
            <pc:docMk/>
            <pc:sldMk cId="3426853550" sldId="763"/>
            <ac:picMk id="12" creationId="{ECDEA32B-213F-45AB-A1DF-732ECB651466}"/>
          </ac:picMkLst>
        </pc:picChg>
      </pc:sldChg>
      <pc:sldChg chg="addSp delSp modSp add replId">
        <pc:chgData name="Contursi, Massimo" userId="S::mcontursi@minsait.com::c11fe434-fa63-4734-8d01-c2285712721e" providerId="AD" clId="Web-{B0939984-8999-DA9E-A9B5-91C5EF4850B5}" dt="2021-06-29T16:17:43.815" v="431" actId="14100"/>
        <pc:sldMkLst>
          <pc:docMk/>
          <pc:sldMk cId="572831618" sldId="764"/>
        </pc:sldMkLst>
        <pc:spChg chg="mod">
          <ac:chgData name="Contursi, Massimo" userId="S::mcontursi@minsait.com::c11fe434-fa63-4734-8d01-c2285712721e" providerId="AD" clId="Web-{B0939984-8999-DA9E-A9B5-91C5EF4850B5}" dt="2021-06-29T16:17:12.002" v="427" actId="20577"/>
          <ac:spMkLst>
            <pc:docMk/>
            <pc:sldMk cId="572831618" sldId="764"/>
            <ac:spMk id="9" creationId="{92C4D6DD-881B-984A-9C92-27BA5BC27568}"/>
          </ac:spMkLst>
        </pc:spChg>
        <pc:picChg chg="del">
          <ac:chgData name="Contursi, Massimo" userId="S::mcontursi@minsait.com::c11fe434-fa63-4734-8d01-c2285712721e" providerId="AD" clId="Web-{B0939984-8999-DA9E-A9B5-91C5EF4850B5}" dt="2021-06-29T16:17:25.659" v="428"/>
          <ac:picMkLst>
            <pc:docMk/>
            <pc:sldMk cId="572831618" sldId="764"/>
            <ac:picMk id="12" creationId="{ECDEA32B-213F-45AB-A1DF-732ECB651466}"/>
          </ac:picMkLst>
        </pc:picChg>
        <pc:picChg chg="add mod">
          <ac:chgData name="Contursi, Massimo" userId="S::mcontursi@minsait.com::c11fe434-fa63-4734-8d01-c2285712721e" providerId="AD" clId="Web-{B0939984-8999-DA9E-A9B5-91C5EF4850B5}" dt="2021-06-29T16:17:43.815" v="431" actId="14100"/>
          <ac:picMkLst>
            <pc:docMk/>
            <pc:sldMk cId="572831618" sldId="764"/>
            <ac:picMk id="13" creationId="{2A73D67B-3A55-464A-AC34-EC7DC2D82E5D}"/>
          </ac:picMkLst>
        </pc:picChg>
      </pc:sldChg>
      <pc:sldChg chg="addSp delSp modSp add replId">
        <pc:chgData name="Contursi, Massimo" userId="S::mcontursi@minsait.com::c11fe434-fa63-4734-8d01-c2285712721e" providerId="AD" clId="Web-{B0939984-8999-DA9E-A9B5-91C5EF4850B5}" dt="2021-06-29T16:19:36.786" v="437" actId="1076"/>
        <pc:sldMkLst>
          <pc:docMk/>
          <pc:sldMk cId="2946572919" sldId="765"/>
        </pc:sldMkLst>
        <pc:picChg chg="add mod">
          <ac:chgData name="Contursi, Massimo" userId="S::mcontursi@minsait.com::c11fe434-fa63-4734-8d01-c2285712721e" providerId="AD" clId="Web-{B0939984-8999-DA9E-A9B5-91C5EF4850B5}" dt="2021-06-29T16:19:36.786" v="437" actId="1076"/>
          <ac:picMkLst>
            <pc:docMk/>
            <pc:sldMk cId="2946572919" sldId="765"/>
            <ac:picMk id="12" creationId="{18566FA7-BD96-4602-87F3-1C53EEDFE5F0}"/>
          </ac:picMkLst>
        </pc:picChg>
        <pc:picChg chg="del">
          <ac:chgData name="Contursi, Massimo" userId="S::mcontursi@minsait.com::c11fe434-fa63-4734-8d01-c2285712721e" providerId="AD" clId="Web-{B0939984-8999-DA9E-A9B5-91C5EF4850B5}" dt="2021-06-29T16:19:31.364" v="434"/>
          <ac:picMkLst>
            <pc:docMk/>
            <pc:sldMk cId="2946572919" sldId="765"/>
            <ac:picMk id="13" creationId="{2A73D67B-3A55-464A-AC34-EC7DC2D82E5D}"/>
          </ac:picMkLst>
        </pc:picChg>
      </pc:sldChg>
      <pc:sldChg chg="addSp delSp modSp add replId">
        <pc:chgData name="Contursi, Massimo" userId="S::mcontursi@minsait.com::c11fe434-fa63-4734-8d01-c2285712721e" providerId="AD" clId="Web-{B0939984-8999-DA9E-A9B5-91C5EF4850B5}" dt="2021-06-29T16:20:19.037" v="443" actId="1076"/>
        <pc:sldMkLst>
          <pc:docMk/>
          <pc:sldMk cId="3145401916" sldId="766"/>
        </pc:sldMkLst>
        <pc:picChg chg="del">
          <ac:chgData name="Contursi, Massimo" userId="S::mcontursi@minsait.com::c11fe434-fa63-4734-8d01-c2285712721e" providerId="AD" clId="Web-{B0939984-8999-DA9E-A9B5-91C5EF4850B5}" dt="2021-06-29T16:20:12.443" v="439"/>
          <ac:picMkLst>
            <pc:docMk/>
            <pc:sldMk cId="3145401916" sldId="766"/>
            <ac:picMk id="12" creationId="{18566FA7-BD96-4602-87F3-1C53EEDFE5F0}"/>
          </ac:picMkLst>
        </pc:picChg>
        <pc:picChg chg="add mod">
          <ac:chgData name="Contursi, Massimo" userId="S::mcontursi@minsait.com::c11fe434-fa63-4734-8d01-c2285712721e" providerId="AD" clId="Web-{B0939984-8999-DA9E-A9B5-91C5EF4850B5}" dt="2021-06-29T16:20:19.037" v="443" actId="1076"/>
          <ac:picMkLst>
            <pc:docMk/>
            <pc:sldMk cId="3145401916" sldId="766"/>
            <ac:picMk id="13" creationId="{95A8BD5F-943D-4AD0-8833-4B4D16A0A2EB}"/>
          </ac:picMkLst>
        </pc:picChg>
      </pc:sldChg>
      <pc:sldChg chg="addSp delSp modSp add replId">
        <pc:chgData name="Contursi, Massimo" userId="S::mcontursi@minsait.com::c11fe434-fa63-4734-8d01-c2285712721e" providerId="AD" clId="Web-{B0939984-8999-DA9E-A9B5-91C5EF4850B5}" dt="2021-06-29T16:21:26.710" v="449" actId="1076"/>
        <pc:sldMkLst>
          <pc:docMk/>
          <pc:sldMk cId="149058563" sldId="767"/>
        </pc:sldMkLst>
        <pc:picChg chg="add mod">
          <ac:chgData name="Contursi, Massimo" userId="S::mcontursi@minsait.com::c11fe434-fa63-4734-8d01-c2285712721e" providerId="AD" clId="Web-{B0939984-8999-DA9E-A9B5-91C5EF4850B5}" dt="2021-06-29T16:21:26.710" v="449" actId="1076"/>
          <ac:picMkLst>
            <pc:docMk/>
            <pc:sldMk cId="149058563" sldId="767"/>
            <ac:picMk id="12" creationId="{282C4CF9-069B-411D-B4DD-44E556A2C5BA}"/>
          </ac:picMkLst>
        </pc:picChg>
        <pc:picChg chg="del">
          <ac:chgData name="Contursi, Massimo" userId="S::mcontursi@minsait.com::c11fe434-fa63-4734-8d01-c2285712721e" providerId="AD" clId="Web-{B0939984-8999-DA9E-A9B5-91C5EF4850B5}" dt="2021-06-29T16:21:06.585" v="445"/>
          <ac:picMkLst>
            <pc:docMk/>
            <pc:sldMk cId="149058563" sldId="767"/>
            <ac:picMk id="13" creationId="{95A8BD5F-943D-4AD0-8833-4B4D16A0A2EB}"/>
          </ac:picMkLst>
        </pc:picChg>
      </pc:sldChg>
      <pc:sldChg chg="addSp delSp modSp add replId">
        <pc:chgData name="Contursi, Massimo" userId="S::mcontursi@minsait.com::c11fe434-fa63-4734-8d01-c2285712721e" providerId="AD" clId="Web-{B0939984-8999-DA9E-A9B5-91C5EF4850B5}" dt="2021-06-29T16:22:04.820" v="456" actId="1076"/>
        <pc:sldMkLst>
          <pc:docMk/>
          <pc:sldMk cId="2729553079" sldId="768"/>
        </pc:sldMkLst>
        <pc:picChg chg="del">
          <ac:chgData name="Contursi, Massimo" userId="S::mcontursi@minsait.com::c11fe434-fa63-4734-8d01-c2285712721e" providerId="AD" clId="Web-{B0939984-8999-DA9E-A9B5-91C5EF4850B5}" dt="2021-06-29T16:21:37.163" v="451"/>
          <ac:picMkLst>
            <pc:docMk/>
            <pc:sldMk cId="2729553079" sldId="768"/>
            <ac:picMk id="12" creationId="{282C4CF9-069B-411D-B4DD-44E556A2C5BA}"/>
          </ac:picMkLst>
        </pc:picChg>
        <pc:picChg chg="add mod">
          <ac:chgData name="Contursi, Massimo" userId="S::mcontursi@minsait.com::c11fe434-fa63-4734-8d01-c2285712721e" providerId="AD" clId="Web-{B0939984-8999-DA9E-A9B5-91C5EF4850B5}" dt="2021-06-29T16:22:04.820" v="456" actId="1076"/>
          <ac:picMkLst>
            <pc:docMk/>
            <pc:sldMk cId="2729553079" sldId="768"/>
            <ac:picMk id="13" creationId="{1E6E2D35-E07A-407D-A2B7-C18A89EF297C}"/>
          </ac:picMkLst>
        </pc:picChg>
      </pc:sldChg>
      <pc:sldChg chg="delSp modSp add replId">
        <pc:chgData name="Contursi, Massimo" userId="S::mcontursi@minsait.com::c11fe434-fa63-4734-8d01-c2285712721e" providerId="AD" clId="Web-{B0939984-8999-DA9E-A9B5-91C5EF4850B5}" dt="2021-06-29T16:22:30.664" v="472" actId="20577"/>
        <pc:sldMkLst>
          <pc:docMk/>
          <pc:sldMk cId="1395940632" sldId="769"/>
        </pc:sldMkLst>
        <pc:spChg chg="mod">
          <ac:chgData name="Contursi, Massimo" userId="S::mcontursi@minsait.com::c11fe434-fa63-4734-8d01-c2285712721e" providerId="AD" clId="Web-{B0939984-8999-DA9E-A9B5-91C5EF4850B5}" dt="2021-06-29T16:22:30.664" v="472" actId="20577"/>
          <ac:spMkLst>
            <pc:docMk/>
            <pc:sldMk cId="1395940632" sldId="769"/>
            <ac:spMk id="9" creationId="{92C4D6DD-881B-984A-9C92-27BA5BC27568}"/>
          </ac:spMkLst>
        </pc:spChg>
        <pc:picChg chg="del">
          <ac:chgData name="Contursi, Massimo" userId="S::mcontursi@minsait.com::c11fe434-fa63-4734-8d01-c2285712721e" providerId="AD" clId="Web-{B0939984-8999-DA9E-A9B5-91C5EF4850B5}" dt="2021-06-29T16:22:23.695" v="469"/>
          <ac:picMkLst>
            <pc:docMk/>
            <pc:sldMk cId="1395940632" sldId="769"/>
            <ac:picMk id="13" creationId="{1E6E2D35-E07A-407D-A2B7-C18A89EF297C}"/>
          </ac:picMkLst>
        </pc:picChg>
      </pc:sldChg>
    </pc:docChg>
  </pc:docChgLst>
  <pc:docChgLst>
    <pc:chgData name="Contursi, Massimo" userId="S::mcontursi@minsait.com::c11fe434-fa63-4734-8d01-c2285712721e" providerId="AD" clId="Web-{8F6C570B-1AAE-407C-8369-E62E2C1469CF}"/>
    <pc:docChg chg="addSld modSld sldOrd">
      <pc:chgData name="Contursi, Massimo" userId="S::mcontursi@minsait.com::c11fe434-fa63-4734-8d01-c2285712721e" providerId="AD" clId="Web-{8F6C570B-1AAE-407C-8369-E62E2C1469CF}" dt="2021-06-26T16:37:35.323" v="1018" actId="20577"/>
      <pc:docMkLst>
        <pc:docMk/>
      </pc:docMkLst>
      <pc:sldChg chg="modSp">
        <pc:chgData name="Contursi, Massimo" userId="S::mcontursi@minsait.com::c11fe434-fa63-4734-8d01-c2285712721e" providerId="AD" clId="Web-{8F6C570B-1AAE-407C-8369-E62E2C1469CF}" dt="2021-06-26T16:37:35.323" v="1018" actId="20577"/>
        <pc:sldMkLst>
          <pc:docMk/>
          <pc:sldMk cId="3167092940" sldId="577"/>
        </pc:sldMkLst>
        <pc:spChg chg="mod">
          <ac:chgData name="Contursi, Massimo" userId="S::mcontursi@minsait.com::c11fe434-fa63-4734-8d01-c2285712721e" providerId="AD" clId="Web-{8F6C570B-1AAE-407C-8369-E62E2C1469CF}" dt="2021-06-26T16:37:35.323" v="1018" actId="20577"/>
          <ac:spMkLst>
            <pc:docMk/>
            <pc:sldMk cId="3167092940" sldId="577"/>
            <ac:spMk id="7" creationId="{00000000-0000-0000-0000-000000000000}"/>
          </ac:spMkLst>
        </pc:spChg>
      </pc:sldChg>
      <pc:sldChg chg="modSp ord">
        <pc:chgData name="Contursi, Massimo" userId="S::mcontursi@minsait.com::c11fe434-fa63-4734-8d01-c2285712721e" providerId="AD" clId="Web-{8F6C570B-1AAE-407C-8369-E62E2C1469CF}" dt="2021-06-26T15:28:32.070" v="983" actId="20577"/>
        <pc:sldMkLst>
          <pc:docMk/>
          <pc:sldMk cId="1378539665" sldId="638"/>
        </pc:sldMkLst>
        <pc:spChg chg="mod">
          <ac:chgData name="Contursi, Massimo" userId="S::mcontursi@minsait.com::c11fe434-fa63-4734-8d01-c2285712721e" providerId="AD" clId="Web-{8F6C570B-1AAE-407C-8369-E62E2C1469CF}" dt="2021-06-26T15:28:32.070" v="983" actId="20577"/>
          <ac:spMkLst>
            <pc:docMk/>
            <pc:sldMk cId="1378539665" sldId="638"/>
            <ac:spMk id="3" creationId="{00000000-0000-0000-0000-000000000000}"/>
          </ac:spMkLst>
        </pc:spChg>
      </pc:sldChg>
      <pc:sldChg chg="ord">
        <pc:chgData name="Contursi, Massimo" userId="S::mcontursi@minsait.com::c11fe434-fa63-4734-8d01-c2285712721e" providerId="AD" clId="Web-{8F6C570B-1AAE-407C-8369-E62E2C1469CF}" dt="2021-06-26T15:27:11.928" v="977"/>
        <pc:sldMkLst>
          <pc:docMk/>
          <pc:sldMk cId="2754830183" sldId="639"/>
        </pc:sldMkLst>
      </pc:sldChg>
      <pc:sldChg chg="modSp ord">
        <pc:chgData name="Contursi, Massimo" userId="S::mcontursi@minsait.com::c11fe434-fa63-4734-8d01-c2285712721e" providerId="AD" clId="Web-{8F6C570B-1AAE-407C-8369-E62E2C1469CF}" dt="2021-06-26T15:28:27.508" v="980" actId="20577"/>
        <pc:sldMkLst>
          <pc:docMk/>
          <pc:sldMk cId="2562204075" sldId="640"/>
        </pc:sldMkLst>
        <pc:spChg chg="mod">
          <ac:chgData name="Contursi, Massimo" userId="S::mcontursi@minsait.com::c11fe434-fa63-4734-8d01-c2285712721e" providerId="AD" clId="Web-{8F6C570B-1AAE-407C-8369-E62E2C1469CF}" dt="2021-06-26T15:28:27.508" v="980" actId="20577"/>
          <ac:spMkLst>
            <pc:docMk/>
            <pc:sldMk cId="2562204075" sldId="640"/>
            <ac:spMk id="11" creationId="{8FFCB682-A2FC-CA4B-AF1F-9B44DC3872A4}"/>
          </ac:spMkLst>
        </pc:spChg>
      </pc:sldChg>
      <pc:sldChg chg="modSp ord">
        <pc:chgData name="Contursi, Massimo" userId="S::mcontursi@minsait.com::c11fe434-fa63-4734-8d01-c2285712721e" providerId="AD" clId="Web-{8F6C570B-1AAE-407C-8369-E62E2C1469CF}" dt="2021-06-26T15:25:02.768" v="975" actId="20577"/>
        <pc:sldMkLst>
          <pc:docMk/>
          <pc:sldMk cId="1015864784" sldId="678"/>
        </pc:sldMkLst>
        <pc:spChg chg="mod">
          <ac:chgData name="Contursi, Massimo" userId="S::mcontursi@minsait.com::c11fe434-fa63-4734-8d01-c2285712721e" providerId="AD" clId="Web-{8F6C570B-1AAE-407C-8369-E62E2C1469CF}" dt="2021-06-26T15:17:49.336" v="417" actId="1076"/>
          <ac:spMkLst>
            <pc:docMk/>
            <pc:sldMk cId="1015864784" sldId="678"/>
            <ac:spMk id="6" creationId="{00000000-0000-0000-0000-000000000000}"/>
          </ac:spMkLst>
        </pc:spChg>
        <pc:spChg chg="mod">
          <ac:chgData name="Contursi, Massimo" userId="S::mcontursi@minsait.com::c11fe434-fa63-4734-8d01-c2285712721e" providerId="AD" clId="Web-{8F6C570B-1AAE-407C-8369-E62E2C1469CF}" dt="2021-06-26T15:18:21.290" v="547" actId="20577"/>
          <ac:spMkLst>
            <pc:docMk/>
            <pc:sldMk cId="1015864784" sldId="678"/>
            <ac:spMk id="9" creationId="{92C4D6DD-881B-984A-9C92-27BA5BC27568}"/>
          </ac:spMkLst>
        </pc:spChg>
        <pc:spChg chg="mod">
          <ac:chgData name="Contursi, Massimo" userId="S::mcontursi@minsait.com::c11fe434-fa63-4734-8d01-c2285712721e" providerId="AD" clId="Web-{8F6C570B-1AAE-407C-8369-E62E2C1469CF}" dt="2021-06-26T15:25:02.768" v="975" actId="20577"/>
          <ac:spMkLst>
            <pc:docMk/>
            <pc:sldMk cId="1015864784" sldId="678"/>
            <ac:spMk id="12" creationId="{126D343F-9F75-40A1-8F58-8E64DF4C655C}"/>
          </ac:spMkLst>
        </pc:spChg>
      </pc:sldChg>
      <pc:sldChg chg="addSp delSp modSp">
        <pc:chgData name="Contursi, Massimo" userId="S::mcontursi@minsait.com::c11fe434-fa63-4734-8d01-c2285712721e" providerId="AD" clId="Web-{8F6C570B-1AAE-407C-8369-E62E2C1469CF}" dt="2021-06-26T14:37:00.586" v="157" actId="20577"/>
        <pc:sldMkLst>
          <pc:docMk/>
          <pc:sldMk cId="507281792" sldId="699"/>
        </pc:sldMkLst>
        <pc:spChg chg="mod">
          <ac:chgData name="Contursi, Massimo" userId="S::mcontursi@minsait.com::c11fe434-fa63-4734-8d01-c2285712721e" providerId="AD" clId="Web-{8F6C570B-1AAE-407C-8369-E62E2C1469CF}" dt="2021-06-26T14:37:00.586" v="157" actId="20577"/>
          <ac:spMkLst>
            <pc:docMk/>
            <pc:sldMk cId="507281792" sldId="699"/>
            <ac:spMk id="12" creationId="{8A211669-F32C-42CA-A839-F9D4B4CE8B56}"/>
          </ac:spMkLst>
        </pc:spChg>
        <pc:spChg chg="mod">
          <ac:chgData name="Contursi, Massimo" userId="S::mcontursi@minsait.com::c11fe434-fa63-4734-8d01-c2285712721e" providerId="AD" clId="Web-{8F6C570B-1AAE-407C-8369-E62E2C1469CF}" dt="2021-06-26T14:31:17.752" v="15" actId="20577"/>
          <ac:spMkLst>
            <pc:docMk/>
            <pc:sldMk cId="507281792" sldId="699"/>
            <ac:spMk id="13" creationId="{9CDFBC7B-A687-4790-BD6A-373EF9689E14}"/>
          </ac:spMkLst>
        </pc:spChg>
        <pc:picChg chg="del">
          <ac:chgData name="Contursi, Massimo" userId="S::mcontursi@minsait.com::c11fe434-fa63-4734-8d01-c2285712721e" providerId="AD" clId="Web-{8F6C570B-1AAE-407C-8369-E62E2C1469CF}" dt="2021-06-26T14:31:03.470" v="0"/>
          <ac:picMkLst>
            <pc:docMk/>
            <pc:sldMk cId="507281792" sldId="699"/>
            <ac:picMk id="14" creationId="{EC76356D-963A-4F37-8F23-A4E029D5C098}"/>
          </ac:picMkLst>
        </pc:picChg>
        <pc:picChg chg="add mod">
          <ac:chgData name="Contursi, Massimo" userId="S::mcontursi@minsait.com::c11fe434-fa63-4734-8d01-c2285712721e" providerId="AD" clId="Web-{8F6C570B-1AAE-407C-8369-E62E2C1469CF}" dt="2021-06-26T14:36:36.210" v="148" actId="1076"/>
          <ac:picMkLst>
            <pc:docMk/>
            <pc:sldMk cId="507281792" sldId="699"/>
            <ac:picMk id="16" creationId="{FCC974B5-698C-4A46-9DD0-1DBC2870A5CE}"/>
          </ac:picMkLst>
        </pc:picChg>
      </pc:sldChg>
      <pc:sldChg chg="modSp add ord replId">
        <pc:chgData name="Contursi, Massimo" userId="S::mcontursi@minsait.com::c11fe434-fa63-4734-8d01-c2285712721e" providerId="AD" clId="Web-{8F6C570B-1AAE-407C-8369-E62E2C1469CF}" dt="2021-06-26T15:13:17.173" v="180" actId="20577"/>
        <pc:sldMkLst>
          <pc:docMk/>
          <pc:sldMk cId="2683909748" sldId="701"/>
        </pc:sldMkLst>
        <pc:spChg chg="mod">
          <ac:chgData name="Contursi, Massimo" userId="S::mcontursi@minsait.com::c11fe434-fa63-4734-8d01-c2285712721e" providerId="AD" clId="Web-{8F6C570B-1AAE-407C-8369-E62E2C1469CF}" dt="2021-06-26T15:13:10.969" v="178" actId="20577"/>
          <ac:spMkLst>
            <pc:docMk/>
            <pc:sldMk cId="2683909748" sldId="701"/>
            <ac:spMk id="3" creationId="{00000000-0000-0000-0000-000000000000}"/>
          </ac:spMkLst>
        </pc:spChg>
        <pc:spChg chg="mod">
          <ac:chgData name="Contursi, Massimo" userId="S::mcontursi@minsait.com::c11fe434-fa63-4734-8d01-c2285712721e" providerId="AD" clId="Web-{8F6C570B-1AAE-407C-8369-E62E2C1469CF}" dt="2021-06-26T15:13:17.173" v="180" actId="20577"/>
          <ac:spMkLst>
            <pc:docMk/>
            <pc:sldMk cId="2683909748" sldId="701"/>
            <ac:spMk id="4" creationId="{00000000-0000-0000-0000-000000000000}"/>
          </ac:spMkLst>
        </pc:spChg>
      </pc:sldChg>
      <pc:sldChg chg="modSp add ord replId">
        <pc:chgData name="Contursi, Massimo" userId="S::mcontursi@minsait.com::c11fe434-fa63-4734-8d01-c2285712721e" providerId="AD" clId="Web-{8F6C570B-1AAE-407C-8369-E62E2C1469CF}" dt="2021-06-26T15:13:51.142" v="185" actId="20577"/>
        <pc:sldMkLst>
          <pc:docMk/>
          <pc:sldMk cId="1954758856" sldId="702"/>
        </pc:sldMkLst>
        <pc:spChg chg="mod">
          <ac:chgData name="Contursi, Massimo" userId="S::mcontursi@minsait.com::c11fe434-fa63-4734-8d01-c2285712721e" providerId="AD" clId="Web-{8F6C570B-1AAE-407C-8369-E62E2C1469CF}" dt="2021-06-26T15:13:51.142" v="185" actId="20577"/>
          <ac:spMkLst>
            <pc:docMk/>
            <pc:sldMk cId="1954758856" sldId="702"/>
            <ac:spMk id="3" creationId="{00000000-0000-0000-0000-000000000000}"/>
          </ac:spMkLst>
        </pc:spChg>
      </pc:sldChg>
    </pc:docChg>
  </pc:docChgLst>
  <pc:docChgLst>
    <pc:chgData name="Contursi, Massimo" userId="S::mcontursi@minsait.com::c11fe434-fa63-4734-8d01-c2285712721e" providerId="AD" clId="Web-{19DFEAC1-B569-4710-AB8B-EF8A09D7FE6A}"/>
    <pc:docChg chg="addSld delSld modSld">
      <pc:chgData name="Contursi, Massimo" userId="S::mcontursi@minsait.com::c11fe434-fa63-4734-8d01-c2285712721e" providerId="AD" clId="Web-{19DFEAC1-B569-4710-AB8B-EF8A09D7FE6A}" dt="2021-06-24T14:56:30.141" v="878" actId="20577"/>
      <pc:docMkLst>
        <pc:docMk/>
      </pc:docMkLst>
      <pc:sldChg chg="addSp delSp modSp">
        <pc:chgData name="Contursi, Massimo" userId="S::mcontursi@minsait.com::c11fe434-fa63-4734-8d01-c2285712721e" providerId="AD" clId="Web-{19DFEAC1-B569-4710-AB8B-EF8A09D7FE6A}" dt="2021-06-24T13:32:30.216" v="21" actId="1076"/>
        <pc:sldMkLst>
          <pc:docMk/>
          <pc:sldMk cId="1728840676" sldId="654"/>
        </pc:sldMkLst>
        <pc:picChg chg="del">
          <ac:chgData name="Contursi, Massimo" userId="S::mcontursi@minsait.com::c11fe434-fa63-4734-8d01-c2285712721e" providerId="AD" clId="Web-{19DFEAC1-B569-4710-AB8B-EF8A09D7FE6A}" dt="2021-06-24T13:32:17.591" v="16"/>
          <ac:picMkLst>
            <pc:docMk/>
            <pc:sldMk cId="1728840676" sldId="654"/>
            <ac:picMk id="7" creationId="{2DE23510-2ABA-42A7-AAE7-6B1773F94F5A}"/>
          </ac:picMkLst>
        </pc:picChg>
        <pc:picChg chg="add mod">
          <ac:chgData name="Contursi, Massimo" userId="S::mcontursi@minsait.com::c11fe434-fa63-4734-8d01-c2285712721e" providerId="AD" clId="Web-{19DFEAC1-B569-4710-AB8B-EF8A09D7FE6A}" dt="2021-06-24T13:32:30.216" v="21" actId="1076"/>
          <ac:picMkLst>
            <pc:docMk/>
            <pc:sldMk cId="1728840676" sldId="654"/>
            <ac:picMk id="8" creationId="{4806CA19-3936-4717-8214-D74520AF0A0A}"/>
          </ac:picMkLst>
        </pc:picChg>
      </pc:sldChg>
      <pc:sldChg chg="addSp delSp modSp add del">
        <pc:chgData name="Contursi, Massimo" userId="S::mcontursi@minsait.com::c11fe434-fa63-4734-8d01-c2285712721e" providerId="AD" clId="Web-{19DFEAC1-B569-4710-AB8B-EF8A09D7FE6A}" dt="2021-06-24T13:31:55.294" v="15"/>
        <pc:sldMkLst>
          <pc:docMk/>
          <pc:sldMk cId="3608399352" sldId="655"/>
        </pc:sldMkLst>
        <pc:spChg chg="mod">
          <ac:chgData name="Contursi, Massimo" userId="S::mcontursi@minsait.com::c11fe434-fa63-4734-8d01-c2285712721e" providerId="AD" clId="Web-{19DFEAC1-B569-4710-AB8B-EF8A09D7FE6A}" dt="2021-06-24T13:28:49.602" v="4" actId="20577"/>
          <ac:spMkLst>
            <pc:docMk/>
            <pc:sldMk cId="3608399352" sldId="655"/>
            <ac:spMk id="9" creationId="{92C4D6DD-881B-984A-9C92-27BA5BC27568}"/>
          </ac:spMkLst>
        </pc:spChg>
        <pc:picChg chg="del">
          <ac:chgData name="Contursi, Massimo" userId="S::mcontursi@minsait.com::c11fe434-fa63-4734-8d01-c2285712721e" providerId="AD" clId="Web-{19DFEAC1-B569-4710-AB8B-EF8A09D7FE6A}" dt="2021-06-24T13:29:52.822" v="5"/>
          <ac:picMkLst>
            <pc:docMk/>
            <pc:sldMk cId="3608399352" sldId="655"/>
            <ac:picMk id="7" creationId="{2DE23510-2ABA-42A7-AAE7-6B1773F94F5A}"/>
          </ac:picMkLst>
        </pc:picChg>
        <pc:picChg chg="add mod">
          <ac:chgData name="Contursi, Massimo" userId="S::mcontursi@minsait.com::c11fe434-fa63-4734-8d01-c2285712721e" providerId="AD" clId="Web-{19DFEAC1-B569-4710-AB8B-EF8A09D7FE6A}" dt="2021-06-24T13:30:12.292" v="13" actId="1076"/>
          <ac:picMkLst>
            <pc:docMk/>
            <pc:sldMk cId="3608399352" sldId="655"/>
            <ac:picMk id="8" creationId="{8BA10DD7-2D80-457B-B562-74E9C1FDB8F0}"/>
          </ac:picMkLst>
        </pc:picChg>
      </pc:sldChg>
      <pc:sldChg chg="addSp delSp modSp add replId">
        <pc:chgData name="Contursi, Massimo" userId="S::mcontursi@minsait.com::c11fe434-fa63-4734-8d01-c2285712721e" providerId="AD" clId="Web-{19DFEAC1-B569-4710-AB8B-EF8A09D7FE6A}" dt="2021-06-24T13:38:55.397" v="154" actId="1076"/>
        <pc:sldMkLst>
          <pc:docMk/>
          <pc:sldMk cId="2742540505" sldId="656"/>
        </pc:sldMkLst>
        <pc:spChg chg="add mod">
          <ac:chgData name="Contursi, Massimo" userId="S::mcontursi@minsait.com::c11fe434-fa63-4734-8d01-c2285712721e" providerId="AD" clId="Web-{19DFEAC1-B569-4710-AB8B-EF8A09D7FE6A}" dt="2021-06-24T13:38:52.850" v="152" actId="20577"/>
          <ac:spMkLst>
            <pc:docMk/>
            <pc:sldMk cId="2742540505" sldId="656"/>
            <ac:spMk id="7" creationId="{7291C889-CE2A-459D-ABEA-50757E96C909}"/>
          </ac:spMkLst>
        </pc:spChg>
        <pc:spChg chg="mod">
          <ac:chgData name="Contursi, Massimo" userId="S::mcontursi@minsait.com::c11fe434-fa63-4734-8d01-c2285712721e" providerId="AD" clId="Web-{19DFEAC1-B569-4710-AB8B-EF8A09D7FE6A}" dt="2021-06-24T13:35:53.643" v="94" actId="20577"/>
          <ac:spMkLst>
            <pc:docMk/>
            <pc:sldMk cId="2742540505" sldId="656"/>
            <ac:spMk id="9" creationId="{92C4D6DD-881B-984A-9C92-27BA5BC27568}"/>
          </ac:spMkLst>
        </pc:spChg>
        <pc:spChg chg="mod">
          <ac:chgData name="Contursi, Massimo" userId="S::mcontursi@minsait.com::c11fe434-fa63-4734-8d01-c2285712721e" providerId="AD" clId="Web-{19DFEAC1-B569-4710-AB8B-EF8A09D7FE6A}" dt="2021-06-24T13:36:06.315" v="98" actId="14100"/>
          <ac:spMkLst>
            <pc:docMk/>
            <pc:sldMk cId="2742540505" sldId="656"/>
            <ac:spMk id="11" creationId="{8FFCB682-A2FC-CA4B-AF1F-9B44DC3872A4}"/>
          </ac:spMkLst>
        </pc:spChg>
        <pc:spChg chg="add mod">
          <ac:chgData name="Contursi, Massimo" userId="S::mcontursi@minsait.com::c11fe434-fa63-4734-8d01-c2285712721e" providerId="AD" clId="Web-{19DFEAC1-B569-4710-AB8B-EF8A09D7FE6A}" dt="2021-06-24T13:38:55.397" v="154" actId="1076"/>
          <ac:spMkLst>
            <pc:docMk/>
            <pc:sldMk cId="2742540505" sldId="656"/>
            <ac:spMk id="12" creationId="{597951B4-D84F-418F-BAE5-C7F1B747833E}"/>
          </ac:spMkLst>
        </pc:spChg>
        <pc:picChg chg="del">
          <ac:chgData name="Contursi, Massimo" userId="S::mcontursi@minsait.com::c11fe434-fa63-4734-8d01-c2285712721e" providerId="AD" clId="Web-{19DFEAC1-B569-4710-AB8B-EF8A09D7FE6A}" dt="2021-06-24T13:32:52.420" v="27"/>
          <ac:picMkLst>
            <pc:docMk/>
            <pc:sldMk cId="2742540505" sldId="656"/>
            <ac:picMk id="8" creationId="{4806CA19-3936-4717-8214-D74520AF0A0A}"/>
          </ac:picMkLst>
        </pc:picChg>
      </pc:sldChg>
      <pc:sldChg chg="addSp delSp modSp add replId">
        <pc:chgData name="Contursi, Massimo" userId="S::mcontursi@minsait.com::c11fe434-fa63-4734-8d01-c2285712721e" providerId="AD" clId="Web-{19DFEAC1-B569-4710-AB8B-EF8A09D7FE6A}" dt="2021-06-24T13:42:44.183" v="199" actId="1076"/>
        <pc:sldMkLst>
          <pc:docMk/>
          <pc:sldMk cId="1997597471" sldId="657"/>
        </pc:sldMkLst>
        <pc:spChg chg="mod">
          <ac:chgData name="Contursi, Massimo" userId="S::mcontursi@minsait.com::c11fe434-fa63-4734-8d01-c2285712721e" providerId="AD" clId="Web-{19DFEAC1-B569-4710-AB8B-EF8A09D7FE6A}" dt="2021-06-24T13:42:08.276" v="189" actId="1076"/>
          <ac:spMkLst>
            <pc:docMk/>
            <pc:sldMk cId="1997597471" sldId="657"/>
            <ac:spMk id="4" creationId="{00000000-0000-0000-0000-000000000000}"/>
          </ac:spMkLst>
        </pc:spChg>
        <pc:spChg chg="mod">
          <ac:chgData name="Contursi, Massimo" userId="S::mcontursi@minsait.com::c11fe434-fa63-4734-8d01-c2285712721e" providerId="AD" clId="Web-{19DFEAC1-B569-4710-AB8B-EF8A09D7FE6A}" dt="2021-06-24T13:41:12.900" v="175" actId="20577"/>
          <ac:spMkLst>
            <pc:docMk/>
            <pc:sldMk cId="1997597471" sldId="657"/>
            <ac:spMk id="9" creationId="{92C4D6DD-881B-984A-9C92-27BA5BC27568}"/>
          </ac:spMkLst>
        </pc:spChg>
        <pc:picChg chg="add mod">
          <ac:chgData name="Contursi, Massimo" userId="S::mcontursi@minsait.com::c11fe434-fa63-4734-8d01-c2285712721e" providerId="AD" clId="Web-{19DFEAC1-B569-4710-AB8B-EF8A09D7FE6A}" dt="2021-06-24T13:42:44.183" v="199" actId="1076"/>
          <ac:picMkLst>
            <pc:docMk/>
            <pc:sldMk cId="1997597471" sldId="657"/>
            <ac:picMk id="7" creationId="{4A0A017A-6B51-470B-AA66-A9E6BEAA56A1}"/>
          </ac:picMkLst>
        </pc:picChg>
        <pc:picChg chg="del">
          <ac:chgData name="Contursi, Massimo" userId="S::mcontursi@minsait.com::c11fe434-fa63-4734-8d01-c2285712721e" providerId="AD" clId="Web-{19DFEAC1-B569-4710-AB8B-EF8A09D7FE6A}" dt="2021-06-24T13:41:13.025" v="176"/>
          <ac:picMkLst>
            <pc:docMk/>
            <pc:sldMk cId="1997597471" sldId="657"/>
            <ac:picMk id="8" creationId="{4806CA19-3936-4717-8214-D74520AF0A0A}"/>
          </ac:picMkLst>
        </pc:picChg>
      </pc:sldChg>
      <pc:sldChg chg="addSp delSp modSp add replId">
        <pc:chgData name="Contursi, Massimo" userId="S::mcontursi@minsait.com::c11fe434-fa63-4734-8d01-c2285712721e" providerId="AD" clId="Web-{19DFEAC1-B569-4710-AB8B-EF8A09D7FE6A}" dt="2021-06-24T13:46:55.533" v="260" actId="20577"/>
        <pc:sldMkLst>
          <pc:docMk/>
          <pc:sldMk cId="1590590945" sldId="658"/>
        </pc:sldMkLst>
        <pc:spChg chg="add mod">
          <ac:chgData name="Contursi, Massimo" userId="S::mcontursi@minsait.com::c11fe434-fa63-4734-8d01-c2285712721e" providerId="AD" clId="Web-{19DFEAC1-B569-4710-AB8B-EF8A09D7FE6A}" dt="2021-06-24T13:46:55.533" v="260" actId="20577"/>
          <ac:spMkLst>
            <pc:docMk/>
            <pc:sldMk cId="1590590945" sldId="658"/>
            <ac:spMk id="7" creationId="{46F916BA-7BD6-495D-A0AE-C0081250D191}"/>
          </ac:spMkLst>
        </pc:spChg>
        <pc:spChg chg="mod">
          <ac:chgData name="Contursi, Massimo" userId="S::mcontursi@minsait.com::c11fe434-fa63-4734-8d01-c2285712721e" providerId="AD" clId="Web-{19DFEAC1-B569-4710-AB8B-EF8A09D7FE6A}" dt="2021-06-24T13:44:16.029" v="200" actId="20577"/>
          <ac:spMkLst>
            <pc:docMk/>
            <pc:sldMk cId="1590590945" sldId="658"/>
            <ac:spMk id="9" creationId="{92C4D6DD-881B-984A-9C92-27BA5BC27568}"/>
          </ac:spMkLst>
        </pc:spChg>
        <pc:picChg chg="del">
          <ac:chgData name="Contursi, Massimo" userId="S::mcontursi@minsait.com::c11fe434-fa63-4734-8d01-c2285712721e" providerId="AD" clId="Web-{19DFEAC1-B569-4710-AB8B-EF8A09D7FE6A}" dt="2021-06-24T13:44:18.904" v="201"/>
          <ac:picMkLst>
            <pc:docMk/>
            <pc:sldMk cId="1590590945" sldId="658"/>
            <ac:picMk id="8" creationId="{4806CA19-3936-4717-8214-D74520AF0A0A}"/>
          </ac:picMkLst>
        </pc:picChg>
      </pc:sldChg>
      <pc:sldChg chg="modSp add replId">
        <pc:chgData name="Contursi, Massimo" userId="S::mcontursi@minsait.com::c11fe434-fa63-4734-8d01-c2285712721e" providerId="AD" clId="Web-{19DFEAC1-B569-4710-AB8B-EF8A09D7FE6A}" dt="2021-06-24T13:40:02.164" v="173" actId="20577"/>
        <pc:sldMkLst>
          <pc:docMk/>
          <pc:sldMk cId="3420433618" sldId="659"/>
        </pc:sldMkLst>
        <pc:spChg chg="mod">
          <ac:chgData name="Contursi, Massimo" userId="S::mcontursi@minsait.com::c11fe434-fa63-4734-8d01-c2285712721e" providerId="AD" clId="Web-{19DFEAC1-B569-4710-AB8B-EF8A09D7FE6A}" dt="2021-06-24T13:40:02.164" v="173" actId="20577"/>
          <ac:spMkLst>
            <pc:docMk/>
            <pc:sldMk cId="3420433618" sldId="659"/>
            <ac:spMk id="7" creationId="{7291C889-CE2A-459D-ABEA-50757E96C909}"/>
          </ac:spMkLst>
        </pc:spChg>
        <pc:spChg chg="mod">
          <ac:chgData name="Contursi, Massimo" userId="S::mcontursi@minsait.com::c11fe434-fa63-4734-8d01-c2285712721e" providerId="AD" clId="Web-{19DFEAC1-B569-4710-AB8B-EF8A09D7FE6A}" dt="2021-06-24T13:37:00.285" v="130" actId="20577"/>
          <ac:spMkLst>
            <pc:docMk/>
            <pc:sldMk cId="3420433618" sldId="659"/>
            <ac:spMk id="9" creationId="{92C4D6DD-881B-984A-9C92-27BA5BC27568}"/>
          </ac:spMkLst>
        </pc:spChg>
      </pc:sldChg>
      <pc:sldChg chg="addSp modSp add replId">
        <pc:chgData name="Contursi, Massimo" userId="S::mcontursi@minsait.com::c11fe434-fa63-4734-8d01-c2285712721e" providerId="AD" clId="Web-{19DFEAC1-B569-4710-AB8B-EF8A09D7FE6A}" dt="2021-06-24T14:01:30.052" v="297" actId="14100"/>
        <pc:sldMkLst>
          <pc:docMk/>
          <pc:sldMk cId="2953705859" sldId="660"/>
        </pc:sldMkLst>
        <pc:spChg chg="mod">
          <ac:chgData name="Contursi, Massimo" userId="S::mcontursi@minsait.com::c11fe434-fa63-4734-8d01-c2285712721e" providerId="AD" clId="Web-{19DFEAC1-B569-4710-AB8B-EF8A09D7FE6A}" dt="2021-06-24T13:53:10.728" v="279" actId="20577"/>
          <ac:spMkLst>
            <pc:docMk/>
            <pc:sldMk cId="2953705859" sldId="660"/>
            <ac:spMk id="7" creationId="{46F916BA-7BD6-495D-A0AE-C0081250D191}"/>
          </ac:spMkLst>
        </pc:spChg>
        <pc:spChg chg="mod">
          <ac:chgData name="Contursi, Massimo" userId="S::mcontursi@minsait.com::c11fe434-fa63-4734-8d01-c2285712721e" providerId="AD" clId="Web-{19DFEAC1-B569-4710-AB8B-EF8A09D7FE6A}" dt="2021-06-24T13:51:34.414" v="263" actId="20577"/>
          <ac:spMkLst>
            <pc:docMk/>
            <pc:sldMk cId="2953705859" sldId="660"/>
            <ac:spMk id="9" creationId="{92C4D6DD-881B-984A-9C92-27BA5BC27568}"/>
          </ac:spMkLst>
        </pc:spChg>
        <pc:spChg chg="add mod">
          <ac:chgData name="Contursi, Massimo" userId="S::mcontursi@minsait.com::c11fe434-fa63-4734-8d01-c2285712721e" providerId="AD" clId="Web-{19DFEAC1-B569-4710-AB8B-EF8A09D7FE6A}" dt="2021-06-24T14:01:05.364" v="294" actId="1076"/>
          <ac:spMkLst>
            <pc:docMk/>
            <pc:sldMk cId="2953705859" sldId="660"/>
            <ac:spMk id="12" creationId="{1018B709-6112-4894-8E04-1178437834A7}"/>
          </ac:spMkLst>
        </pc:spChg>
        <pc:picChg chg="add mod">
          <ac:chgData name="Contursi, Massimo" userId="S::mcontursi@minsait.com::c11fe434-fa63-4734-8d01-c2285712721e" providerId="AD" clId="Web-{19DFEAC1-B569-4710-AB8B-EF8A09D7FE6A}" dt="2021-06-24T13:53:18.994" v="282" actId="1076"/>
          <ac:picMkLst>
            <pc:docMk/>
            <pc:sldMk cId="2953705859" sldId="660"/>
            <ac:picMk id="8" creationId="{27AB0014-B06C-4312-AF80-6A8599CE2982}"/>
          </ac:picMkLst>
        </pc:picChg>
        <pc:picChg chg="add mod">
          <ac:chgData name="Contursi, Massimo" userId="S::mcontursi@minsait.com::c11fe434-fa63-4734-8d01-c2285712721e" providerId="AD" clId="Web-{19DFEAC1-B569-4710-AB8B-EF8A09D7FE6A}" dt="2021-06-24T14:01:30.052" v="297" actId="14100"/>
          <ac:picMkLst>
            <pc:docMk/>
            <pc:sldMk cId="2953705859" sldId="660"/>
            <ac:picMk id="13" creationId="{299E99D5-E22E-4E9F-8731-C56B577810BF}"/>
          </ac:picMkLst>
        </pc:picChg>
      </pc:sldChg>
      <pc:sldChg chg="modSp add replId">
        <pc:chgData name="Contursi, Massimo" userId="S::mcontursi@minsait.com::c11fe434-fa63-4734-8d01-c2285712721e" providerId="AD" clId="Web-{19DFEAC1-B569-4710-AB8B-EF8A09D7FE6A}" dt="2021-06-24T14:10:41.705" v="397" actId="20577"/>
        <pc:sldMkLst>
          <pc:docMk/>
          <pc:sldMk cId="2357917950" sldId="661"/>
        </pc:sldMkLst>
        <pc:spChg chg="mod">
          <ac:chgData name="Contursi, Massimo" userId="S::mcontursi@minsait.com::c11fe434-fa63-4734-8d01-c2285712721e" providerId="AD" clId="Web-{19DFEAC1-B569-4710-AB8B-EF8A09D7FE6A}" dt="2021-06-24T14:05:58.683" v="392" actId="20577"/>
          <ac:spMkLst>
            <pc:docMk/>
            <pc:sldMk cId="2357917950" sldId="661"/>
            <ac:spMk id="7" creationId="{46F916BA-7BD6-495D-A0AE-C0081250D191}"/>
          </ac:spMkLst>
        </pc:spChg>
        <pc:spChg chg="mod">
          <ac:chgData name="Contursi, Massimo" userId="S::mcontursi@minsait.com::c11fe434-fa63-4734-8d01-c2285712721e" providerId="AD" clId="Web-{19DFEAC1-B569-4710-AB8B-EF8A09D7FE6A}" dt="2021-06-24T14:10:41.705" v="397" actId="20577"/>
          <ac:spMkLst>
            <pc:docMk/>
            <pc:sldMk cId="2357917950" sldId="661"/>
            <ac:spMk id="9" creationId="{92C4D6DD-881B-984A-9C92-27BA5BC27568}"/>
          </ac:spMkLst>
        </pc:spChg>
      </pc:sldChg>
      <pc:sldChg chg="addSp delSp modSp add replId">
        <pc:chgData name="Contursi, Massimo" userId="S::mcontursi@minsait.com::c11fe434-fa63-4734-8d01-c2285712721e" providerId="AD" clId="Web-{19DFEAC1-B569-4710-AB8B-EF8A09D7FE6A}" dt="2021-06-24T14:03:17.586" v="327" actId="14100"/>
        <pc:sldMkLst>
          <pc:docMk/>
          <pc:sldMk cId="485171404" sldId="662"/>
        </pc:sldMkLst>
        <pc:spChg chg="mod">
          <ac:chgData name="Contursi, Massimo" userId="S::mcontursi@minsait.com::c11fe434-fa63-4734-8d01-c2285712721e" providerId="AD" clId="Web-{19DFEAC1-B569-4710-AB8B-EF8A09D7FE6A}" dt="2021-06-24T14:02:26.959" v="317" actId="20577"/>
          <ac:spMkLst>
            <pc:docMk/>
            <pc:sldMk cId="485171404" sldId="662"/>
            <ac:spMk id="7" creationId="{46F916BA-7BD6-495D-A0AE-C0081250D191}"/>
          </ac:spMkLst>
        </pc:spChg>
        <pc:spChg chg="mod">
          <ac:chgData name="Contursi, Massimo" userId="S::mcontursi@minsait.com::c11fe434-fa63-4734-8d01-c2285712721e" providerId="AD" clId="Web-{19DFEAC1-B569-4710-AB8B-EF8A09D7FE6A}" dt="2021-06-24T14:02:10.162" v="309" actId="20577"/>
          <ac:spMkLst>
            <pc:docMk/>
            <pc:sldMk cId="485171404" sldId="662"/>
            <ac:spMk id="9" creationId="{92C4D6DD-881B-984A-9C92-27BA5BC27568}"/>
          </ac:spMkLst>
        </pc:spChg>
        <pc:spChg chg="mod">
          <ac:chgData name="Contursi, Massimo" userId="S::mcontursi@minsait.com::c11fe434-fa63-4734-8d01-c2285712721e" providerId="AD" clId="Web-{19DFEAC1-B569-4710-AB8B-EF8A09D7FE6A}" dt="2021-06-24T14:02:19.553" v="312" actId="20577"/>
          <ac:spMkLst>
            <pc:docMk/>
            <pc:sldMk cId="485171404" sldId="662"/>
            <ac:spMk id="12" creationId="{1018B709-6112-4894-8E04-1178437834A7}"/>
          </ac:spMkLst>
        </pc:spChg>
        <pc:spChg chg="add mod">
          <ac:chgData name="Contursi, Massimo" userId="S::mcontursi@minsait.com::c11fe434-fa63-4734-8d01-c2285712721e" providerId="AD" clId="Web-{19DFEAC1-B569-4710-AB8B-EF8A09D7FE6A}" dt="2021-06-24T14:03:17.586" v="327" actId="14100"/>
          <ac:spMkLst>
            <pc:docMk/>
            <pc:sldMk cId="485171404" sldId="662"/>
            <ac:spMk id="15" creationId="{3724358C-DF5A-4011-B2F4-9AB70FEDB65C}"/>
          </ac:spMkLst>
        </pc:spChg>
        <pc:picChg chg="del">
          <ac:chgData name="Contursi, Massimo" userId="S::mcontursi@minsait.com::c11fe434-fa63-4734-8d01-c2285712721e" providerId="AD" clId="Web-{19DFEAC1-B569-4710-AB8B-EF8A09D7FE6A}" dt="2021-06-24T14:02:22.709" v="313"/>
          <ac:picMkLst>
            <pc:docMk/>
            <pc:sldMk cId="485171404" sldId="662"/>
            <ac:picMk id="8" creationId="{27AB0014-B06C-4312-AF80-6A8599CE2982}"/>
          </ac:picMkLst>
        </pc:picChg>
        <pc:picChg chg="del">
          <ac:chgData name="Contursi, Massimo" userId="S::mcontursi@minsait.com::c11fe434-fa63-4734-8d01-c2285712721e" providerId="AD" clId="Web-{19DFEAC1-B569-4710-AB8B-EF8A09D7FE6A}" dt="2021-06-24T14:02:13.256" v="310"/>
          <ac:picMkLst>
            <pc:docMk/>
            <pc:sldMk cId="485171404" sldId="662"/>
            <ac:picMk id="13" creationId="{299E99D5-E22E-4E9F-8731-C56B577810BF}"/>
          </ac:picMkLst>
        </pc:picChg>
        <pc:picChg chg="add mod">
          <ac:chgData name="Contursi, Massimo" userId="S::mcontursi@minsait.com::c11fe434-fa63-4734-8d01-c2285712721e" providerId="AD" clId="Web-{19DFEAC1-B569-4710-AB8B-EF8A09D7FE6A}" dt="2021-06-24T14:02:56.804" v="321" actId="14100"/>
          <ac:picMkLst>
            <pc:docMk/>
            <pc:sldMk cId="485171404" sldId="662"/>
            <ac:picMk id="14" creationId="{D0B086A6-CEBE-4DCC-82CA-7E2E5C10D6D3}"/>
          </ac:picMkLst>
        </pc:picChg>
      </pc:sldChg>
      <pc:sldChg chg="modSp add replId">
        <pc:chgData name="Contursi, Massimo" userId="S::mcontursi@minsait.com::c11fe434-fa63-4734-8d01-c2285712721e" providerId="AD" clId="Web-{19DFEAC1-B569-4710-AB8B-EF8A09D7FE6A}" dt="2021-06-24T14:15:30.352" v="512" actId="20577"/>
        <pc:sldMkLst>
          <pc:docMk/>
          <pc:sldMk cId="261105299" sldId="663"/>
        </pc:sldMkLst>
        <pc:spChg chg="mod">
          <ac:chgData name="Contursi, Massimo" userId="S::mcontursi@minsait.com::c11fe434-fa63-4734-8d01-c2285712721e" providerId="AD" clId="Web-{19DFEAC1-B569-4710-AB8B-EF8A09D7FE6A}" dt="2021-06-24T14:15:30.352" v="512" actId="20577"/>
          <ac:spMkLst>
            <pc:docMk/>
            <pc:sldMk cId="261105299" sldId="663"/>
            <ac:spMk id="7" creationId="{46F916BA-7BD6-495D-A0AE-C0081250D191}"/>
          </ac:spMkLst>
        </pc:spChg>
        <pc:spChg chg="mod">
          <ac:chgData name="Contursi, Massimo" userId="S::mcontursi@minsait.com::c11fe434-fa63-4734-8d01-c2285712721e" providerId="AD" clId="Web-{19DFEAC1-B569-4710-AB8B-EF8A09D7FE6A}" dt="2021-06-24T14:11:09.268" v="408" actId="20577"/>
          <ac:spMkLst>
            <pc:docMk/>
            <pc:sldMk cId="261105299" sldId="663"/>
            <ac:spMk id="9" creationId="{92C4D6DD-881B-984A-9C92-27BA5BC27568}"/>
          </ac:spMkLst>
        </pc:spChg>
      </pc:sldChg>
      <pc:sldChg chg="modSp add replId">
        <pc:chgData name="Contursi, Massimo" userId="S::mcontursi@minsait.com::c11fe434-fa63-4734-8d01-c2285712721e" providerId="AD" clId="Web-{19DFEAC1-B569-4710-AB8B-EF8A09D7FE6A}" dt="2021-06-24T14:16:15.712" v="551" actId="20577"/>
        <pc:sldMkLst>
          <pc:docMk/>
          <pc:sldMk cId="2992290307" sldId="664"/>
        </pc:sldMkLst>
        <pc:spChg chg="mod">
          <ac:chgData name="Contursi, Massimo" userId="S::mcontursi@minsait.com::c11fe434-fa63-4734-8d01-c2285712721e" providerId="AD" clId="Web-{19DFEAC1-B569-4710-AB8B-EF8A09D7FE6A}" dt="2021-06-24T14:16:15.712" v="551" actId="20577"/>
          <ac:spMkLst>
            <pc:docMk/>
            <pc:sldMk cId="2992290307" sldId="664"/>
            <ac:spMk id="7" creationId="{46F916BA-7BD6-495D-A0AE-C0081250D191}"/>
          </ac:spMkLst>
        </pc:spChg>
        <pc:spChg chg="mod">
          <ac:chgData name="Contursi, Massimo" userId="S::mcontursi@minsait.com::c11fe434-fa63-4734-8d01-c2285712721e" providerId="AD" clId="Web-{19DFEAC1-B569-4710-AB8B-EF8A09D7FE6A}" dt="2021-06-24T14:15:46.430" v="525" actId="20577"/>
          <ac:spMkLst>
            <pc:docMk/>
            <pc:sldMk cId="2992290307" sldId="664"/>
            <ac:spMk id="9" creationId="{92C4D6DD-881B-984A-9C92-27BA5BC27568}"/>
          </ac:spMkLst>
        </pc:spChg>
      </pc:sldChg>
      <pc:sldChg chg="modSp add replId">
        <pc:chgData name="Contursi, Massimo" userId="S::mcontursi@minsait.com::c11fe434-fa63-4734-8d01-c2285712721e" providerId="AD" clId="Web-{19DFEAC1-B569-4710-AB8B-EF8A09D7FE6A}" dt="2021-06-24T14:43:40.530" v="854" actId="20577"/>
        <pc:sldMkLst>
          <pc:docMk/>
          <pc:sldMk cId="2854038663" sldId="665"/>
        </pc:sldMkLst>
        <pc:spChg chg="mod">
          <ac:chgData name="Contursi, Massimo" userId="S::mcontursi@minsait.com::c11fe434-fa63-4734-8d01-c2285712721e" providerId="AD" clId="Web-{19DFEAC1-B569-4710-AB8B-EF8A09D7FE6A}" dt="2021-06-24T14:43:15.904" v="851" actId="20577"/>
          <ac:spMkLst>
            <pc:docMk/>
            <pc:sldMk cId="2854038663" sldId="665"/>
            <ac:spMk id="7" creationId="{46F916BA-7BD6-495D-A0AE-C0081250D191}"/>
          </ac:spMkLst>
        </pc:spChg>
        <pc:spChg chg="mod">
          <ac:chgData name="Contursi, Massimo" userId="S::mcontursi@minsait.com::c11fe434-fa63-4734-8d01-c2285712721e" providerId="AD" clId="Web-{19DFEAC1-B569-4710-AB8B-EF8A09D7FE6A}" dt="2021-06-24T14:43:40.530" v="854" actId="20577"/>
          <ac:spMkLst>
            <pc:docMk/>
            <pc:sldMk cId="2854038663" sldId="665"/>
            <ac:spMk id="9" creationId="{92C4D6DD-881B-984A-9C92-27BA5BC27568}"/>
          </ac:spMkLst>
        </pc:spChg>
      </pc:sldChg>
      <pc:sldChg chg="addSp modSp add replId">
        <pc:chgData name="Contursi, Massimo" userId="S::mcontursi@minsait.com::c11fe434-fa63-4734-8d01-c2285712721e" providerId="AD" clId="Web-{19DFEAC1-B569-4710-AB8B-EF8A09D7FE6A}" dt="2021-06-24T14:25:56.928" v="702" actId="20577"/>
        <pc:sldMkLst>
          <pc:docMk/>
          <pc:sldMk cId="1001461843" sldId="666"/>
        </pc:sldMkLst>
        <pc:spChg chg="mod">
          <ac:chgData name="Contursi, Massimo" userId="S::mcontursi@minsait.com::c11fe434-fa63-4734-8d01-c2285712721e" providerId="AD" clId="Web-{19DFEAC1-B569-4710-AB8B-EF8A09D7FE6A}" dt="2021-06-24T14:24:59.021" v="675" actId="1076"/>
          <ac:spMkLst>
            <pc:docMk/>
            <pc:sldMk cId="1001461843" sldId="666"/>
            <ac:spMk id="7" creationId="{46F916BA-7BD6-495D-A0AE-C0081250D191}"/>
          </ac:spMkLst>
        </pc:spChg>
        <pc:spChg chg="mod">
          <ac:chgData name="Contursi, Massimo" userId="S::mcontursi@minsait.com::c11fe434-fa63-4734-8d01-c2285712721e" providerId="AD" clId="Web-{19DFEAC1-B569-4710-AB8B-EF8A09D7FE6A}" dt="2021-06-24T14:22:12.329" v="660" actId="20577"/>
          <ac:spMkLst>
            <pc:docMk/>
            <pc:sldMk cId="1001461843" sldId="666"/>
            <ac:spMk id="9" creationId="{92C4D6DD-881B-984A-9C92-27BA5BC27568}"/>
          </ac:spMkLst>
        </pc:spChg>
        <pc:spChg chg="add mod">
          <ac:chgData name="Contursi, Massimo" userId="S::mcontursi@minsait.com::c11fe434-fa63-4734-8d01-c2285712721e" providerId="AD" clId="Web-{19DFEAC1-B569-4710-AB8B-EF8A09D7FE6A}" dt="2021-06-24T14:25:56.928" v="702" actId="20577"/>
          <ac:spMkLst>
            <pc:docMk/>
            <pc:sldMk cId="1001461843" sldId="666"/>
            <ac:spMk id="12" creationId="{1040EC56-9A42-4C9B-BD97-A792B2A9C2E3}"/>
          </ac:spMkLst>
        </pc:spChg>
        <pc:picChg chg="add mod">
          <ac:chgData name="Contursi, Massimo" userId="S::mcontursi@minsait.com::c11fe434-fa63-4734-8d01-c2285712721e" providerId="AD" clId="Web-{19DFEAC1-B569-4710-AB8B-EF8A09D7FE6A}" dt="2021-06-24T14:25:00.583" v="676" actId="1076"/>
          <ac:picMkLst>
            <pc:docMk/>
            <pc:sldMk cId="1001461843" sldId="666"/>
            <ac:picMk id="8" creationId="{69E2C1F2-4C1E-4096-951D-26F8A21A18E5}"/>
          </ac:picMkLst>
        </pc:picChg>
      </pc:sldChg>
      <pc:sldChg chg="modSp add replId">
        <pc:chgData name="Contursi, Massimo" userId="S::mcontursi@minsait.com::c11fe434-fa63-4734-8d01-c2285712721e" providerId="AD" clId="Web-{19DFEAC1-B569-4710-AB8B-EF8A09D7FE6A}" dt="2021-06-24T14:21:54.251" v="641" actId="20577"/>
        <pc:sldMkLst>
          <pc:docMk/>
          <pc:sldMk cId="1512563020" sldId="667"/>
        </pc:sldMkLst>
        <pc:spChg chg="mod">
          <ac:chgData name="Contursi, Massimo" userId="S::mcontursi@minsait.com::c11fe434-fa63-4734-8d01-c2285712721e" providerId="AD" clId="Web-{19DFEAC1-B569-4710-AB8B-EF8A09D7FE6A}" dt="2021-06-24T14:21:54.251" v="641" actId="20577"/>
          <ac:spMkLst>
            <pc:docMk/>
            <pc:sldMk cId="1512563020" sldId="667"/>
            <ac:spMk id="7" creationId="{46F916BA-7BD6-495D-A0AE-C0081250D191}"/>
          </ac:spMkLst>
        </pc:spChg>
        <pc:spChg chg="mod">
          <ac:chgData name="Contursi, Massimo" userId="S::mcontursi@minsait.com::c11fe434-fa63-4734-8d01-c2285712721e" providerId="AD" clId="Web-{19DFEAC1-B569-4710-AB8B-EF8A09D7FE6A}" dt="2021-06-24T14:19:10.575" v="557" actId="20577"/>
          <ac:spMkLst>
            <pc:docMk/>
            <pc:sldMk cId="1512563020" sldId="667"/>
            <ac:spMk id="9" creationId="{92C4D6DD-881B-984A-9C92-27BA5BC27568}"/>
          </ac:spMkLst>
        </pc:spChg>
      </pc:sldChg>
      <pc:sldChg chg="addSp delSp modSp add replId addAnim delAnim">
        <pc:chgData name="Contursi, Massimo" userId="S::mcontursi@minsait.com::c11fe434-fa63-4734-8d01-c2285712721e" providerId="AD" clId="Web-{19DFEAC1-B569-4710-AB8B-EF8A09D7FE6A}" dt="2021-06-24T14:56:30.141" v="878" actId="20577"/>
        <pc:sldMkLst>
          <pc:docMk/>
          <pc:sldMk cId="3746285483" sldId="668"/>
        </pc:sldMkLst>
        <pc:spChg chg="add del">
          <ac:chgData name="Contursi, Massimo" userId="S::mcontursi@minsait.com::c11fe434-fa63-4734-8d01-c2285712721e" providerId="AD" clId="Web-{19DFEAC1-B569-4710-AB8B-EF8A09D7FE6A}" dt="2021-06-24T14:33:49.376" v="724"/>
          <ac:spMkLst>
            <pc:docMk/>
            <pc:sldMk cId="3746285483" sldId="668"/>
            <ac:spMk id="4" creationId="{00000000-0000-0000-0000-000000000000}"/>
          </ac:spMkLst>
        </pc:spChg>
        <pc:spChg chg="add del">
          <ac:chgData name="Contursi, Massimo" userId="S::mcontursi@minsait.com::c11fe434-fa63-4734-8d01-c2285712721e" providerId="AD" clId="Web-{19DFEAC1-B569-4710-AB8B-EF8A09D7FE6A}" dt="2021-06-24T14:33:49.361" v="721"/>
          <ac:spMkLst>
            <pc:docMk/>
            <pc:sldMk cId="3746285483" sldId="668"/>
            <ac:spMk id="5" creationId="{8FFCB682-A2FC-CA4B-AF1F-9B44DC3872A4}"/>
          </ac:spMkLst>
        </pc:spChg>
        <pc:spChg chg="add del">
          <ac:chgData name="Contursi, Massimo" userId="S::mcontursi@minsait.com::c11fe434-fa63-4734-8d01-c2285712721e" providerId="AD" clId="Web-{19DFEAC1-B569-4710-AB8B-EF8A09D7FE6A}" dt="2021-06-24T14:33:49.361" v="720"/>
          <ac:spMkLst>
            <pc:docMk/>
            <pc:sldMk cId="3746285483" sldId="668"/>
            <ac:spMk id="6" creationId="{00000000-0000-0000-0000-000000000000}"/>
          </ac:spMkLst>
        </pc:spChg>
        <pc:spChg chg="add del mod">
          <ac:chgData name="Contursi, Massimo" userId="S::mcontursi@minsait.com::c11fe434-fa63-4734-8d01-c2285712721e" providerId="AD" clId="Web-{19DFEAC1-B569-4710-AB8B-EF8A09D7FE6A}" dt="2021-06-24T14:33:49.376" v="725"/>
          <ac:spMkLst>
            <pc:docMk/>
            <pc:sldMk cId="3746285483" sldId="668"/>
            <ac:spMk id="7" creationId="{46F916BA-7BD6-495D-A0AE-C0081250D191}"/>
          </ac:spMkLst>
        </pc:spChg>
        <pc:spChg chg="add del mod">
          <ac:chgData name="Contursi, Massimo" userId="S::mcontursi@minsait.com::c11fe434-fa63-4734-8d01-c2285712721e" providerId="AD" clId="Web-{19DFEAC1-B569-4710-AB8B-EF8A09D7FE6A}" dt="2021-06-24T14:33:49.361" v="719"/>
          <ac:spMkLst>
            <pc:docMk/>
            <pc:sldMk cId="3746285483" sldId="668"/>
            <ac:spMk id="9" creationId="{92C4D6DD-881B-984A-9C92-27BA5BC27568}"/>
          </ac:spMkLst>
        </pc:spChg>
        <pc:spChg chg="add del">
          <ac:chgData name="Contursi, Massimo" userId="S::mcontursi@minsait.com::c11fe434-fa63-4734-8d01-c2285712721e" providerId="AD" clId="Web-{19DFEAC1-B569-4710-AB8B-EF8A09D7FE6A}" dt="2021-06-24T14:33:49.361" v="722"/>
          <ac:spMkLst>
            <pc:docMk/>
            <pc:sldMk cId="3746285483" sldId="668"/>
            <ac:spMk id="10" creationId="{8FFCB682-A2FC-CA4B-AF1F-9B44DC3872A4}"/>
          </ac:spMkLst>
        </pc:spChg>
        <pc:spChg chg="add del">
          <ac:chgData name="Contursi, Massimo" userId="S::mcontursi@minsait.com::c11fe434-fa63-4734-8d01-c2285712721e" providerId="AD" clId="Web-{19DFEAC1-B569-4710-AB8B-EF8A09D7FE6A}" dt="2021-06-24T14:33:49.361" v="723"/>
          <ac:spMkLst>
            <pc:docMk/>
            <pc:sldMk cId="3746285483" sldId="668"/>
            <ac:spMk id="11" creationId="{8FFCB682-A2FC-CA4B-AF1F-9B44DC3872A4}"/>
          </ac:spMkLst>
        </pc:spChg>
        <pc:spChg chg="add del mod">
          <ac:chgData name="Contursi, Massimo" userId="S::mcontursi@minsait.com::c11fe434-fa63-4734-8d01-c2285712721e" providerId="AD" clId="Web-{19DFEAC1-B569-4710-AB8B-EF8A09D7FE6A}" dt="2021-06-24T14:56:30.141" v="878" actId="20577"/>
          <ac:spMkLst>
            <pc:docMk/>
            <pc:sldMk cId="3746285483" sldId="668"/>
            <ac:spMk id="12" creationId="{1040EC56-9A42-4C9B-BD97-A792B2A9C2E3}"/>
          </ac:spMkLst>
        </pc:spChg>
        <pc:spChg chg="add del mod">
          <ac:chgData name="Contursi, Massimo" userId="S::mcontursi@minsait.com::c11fe434-fa63-4734-8d01-c2285712721e" providerId="AD" clId="Web-{19DFEAC1-B569-4710-AB8B-EF8A09D7FE6A}" dt="2021-06-24T14:33:49.361" v="720"/>
          <ac:spMkLst>
            <pc:docMk/>
            <pc:sldMk cId="3746285483" sldId="668"/>
            <ac:spMk id="14" creationId="{18AB3E63-7542-46CA-A55C-1F51D529DF02}"/>
          </ac:spMkLst>
        </pc:spChg>
        <pc:spChg chg="add del mod">
          <ac:chgData name="Contursi, Massimo" userId="S::mcontursi@minsait.com::c11fe434-fa63-4734-8d01-c2285712721e" providerId="AD" clId="Web-{19DFEAC1-B569-4710-AB8B-EF8A09D7FE6A}" dt="2021-06-24T14:33:49.361" v="719"/>
          <ac:spMkLst>
            <pc:docMk/>
            <pc:sldMk cId="3746285483" sldId="668"/>
            <ac:spMk id="16" creationId="{78D939C6-E7C2-4A0E-8CB5-4A70B2023054}"/>
          </ac:spMkLst>
        </pc:spChg>
        <pc:picChg chg="add del">
          <ac:chgData name="Contursi, Massimo" userId="S::mcontursi@minsait.com::c11fe434-fa63-4734-8d01-c2285712721e" providerId="AD" clId="Web-{19DFEAC1-B569-4710-AB8B-EF8A09D7FE6A}" dt="2021-06-24T14:33:53.048" v="728"/>
          <ac:picMkLst>
            <pc:docMk/>
            <pc:sldMk cId="3746285483" sldId="668"/>
            <ac:picMk id="8" creationId="{69E2C1F2-4C1E-4096-951D-26F8A21A18E5}"/>
          </ac:picMkLst>
        </pc:picChg>
      </pc:sldChg>
      <pc:sldChg chg="delSp modSp add replId">
        <pc:chgData name="Contursi, Massimo" userId="S::mcontursi@minsait.com::c11fe434-fa63-4734-8d01-c2285712721e" providerId="AD" clId="Web-{19DFEAC1-B569-4710-AB8B-EF8A09D7FE6A}" dt="2021-06-24T14:51:38.306" v="874" actId="20577"/>
        <pc:sldMkLst>
          <pc:docMk/>
          <pc:sldMk cId="2978605037" sldId="669"/>
        </pc:sldMkLst>
        <pc:spChg chg="mod">
          <ac:chgData name="Contursi, Massimo" userId="S::mcontursi@minsait.com::c11fe434-fa63-4734-8d01-c2285712721e" providerId="AD" clId="Web-{19DFEAC1-B569-4710-AB8B-EF8A09D7FE6A}" dt="2021-06-24T14:36:17.723" v="803" actId="20577"/>
          <ac:spMkLst>
            <pc:docMk/>
            <pc:sldMk cId="2978605037" sldId="669"/>
            <ac:spMk id="7" creationId="{46F916BA-7BD6-495D-A0AE-C0081250D191}"/>
          </ac:spMkLst>
        </pc:spChg>
        <pc:spChg chg="mod">
          <ac:chgData name="Contursi, Massimo" userId="S::mcontursi@minsait.com::c11fe434-fa63-4734-8d01-c2285712721e" providerId="AD" clId="Web-{19DFEAC1-B569-4710-AB8B-EF8A09D7FE6A}" dt="2021-06-24T14:36:46.943" v="808" actId="20577"/>
          <ac:spMkLst>
            <pc:docMk/>
            <pc:sldMk cId="2978605037" sldId="669"/>
            <ac:spMk id="9" creationId="{92C4D6DD-881B-984A-9C92-27BA5BC27568}"/>
          </ac:spMkLst>
        </pc:spChg>
        <pc:spChg chg="mod">
          <ac:chgData name="Contursi, Massimo" userId="S::mcontursi@minsait.com::c11fe434-fa63-4734-8d01-c2285712721e" providerId="AD" clId="Web-{19DFEAC1-B569-4710-AB8B-EF8A09D7FE6A}" dt="2021-06-24T14:51:38.306" v="874" actId="20577"/>
          <ac:spMkLst>
            <pc:docMk/>
            <pc:sldMk cId="2978605037" sldId="669"/>
            <ac:spMk id="12" creationId="{1040EC56-9A42-4C9B-BD97-A792B2A9C2E3}"/>
          </ac:spMkLst>
        </pc:spChg>
        <pc:picChg chg="del">
          <ac:chgData name="Contursi, Massimo" userId="S::mcontursi@minsait.com::c11fe434-fa63-4734-8d01-c2285712721e" providerId="AD" clId="Web-{19DFEAC1-B569-4710-AB8B-EF8A09D7FE6A}" dt="2021-06-24T14:36:14.020" v="801"/>
          <ac:picMkLst>
            <pc:docMk/>
            <pc:sldMk cId="2978605037" sldId="669"/>
            <ac:picMk id="8" creationId="{69E2C1F2-4C1E-4096-951D-26F8A21A18E5}"/>
          </ac:picMkLst>
        </pc:picChg>
      </pc:sldChg>
      <pc:sldChg chg="addSp modSp add replId">
        <pc:chgData name="Contursi, Massimo" userId="S::mcontursi@minsait.com::c11fe434-fa63-4734-8d01-c2285712721e" providerId="AD" clId="Web-{19DFEAC1-B569-4710-AB8B-EF8A09D7FE6A}" dt="2021-06-24T14:50:16.476" v="871" actId="1076"/>
        <pc:sldMkLst>
          <pc:docMk/>
          <pc:sldMk cId="2081665533" sldId="670"/>
        </pc:sldMkLst>
        <pc:spChg chg="mod">
          <ac:chgData name="Contursi, Massimo" userId="S::mcontursi@minsait.com::c11fe434-fa63-4734-8d01-c2285712721e" providerId="AD" clId="Web-{19DFEAC1-B569-4710-AB8B-EF8A09D7FE6A}" dt="2021-06-24T14:44:09.906" v="865" actId="14100"/>
          <ac:spMkLst>
            <pc:docMk/>
            <pc:sldMk cId="2081665533" sldId="670"/>
            <ac:spMk id="7" creationId="{46F916BA-7BD6-495D-A0AE-C0081250D191}"/>
          </ac:spMkLst>
        </pc:spChg>
        <pc:spChg chg="mod">
          <ac:chgData name="Contursi, Massimo" userId="S::mcontursi@minsait.com::c11fe434-fa63-4734-8d01-c2285712721e" providerId="AD" clId="Web-{19DFEAC1-B569-4710-AB8B-EF8A09D7FE6A}" dt="2021-06-24T14:43:43.874" v="858" actId="20577"/>
          <ac:spMkLst>
            <pc:docMk/>
            <pc:sldMk cId="2081665533" sldId="670"/>
            <ac:spMk id="9" creationId="{92C4D6DD-881B-984A-9C92-27BA5BC27568}"/>
          </ac:spMkLst>
        </pc:spChg>
        <pc:picChg chg="add mod">
          <ac:chgData name="Contursi, Massimo" userId="S::mcontursi@minsait.com::c11fe434-fa63-4734-8d01-c2285712721e" providerId="AD" clId="Web-{19DFEAC1-B569-4710-AB8B-EF8A09D7FE6A}" dt="2021-06-24T14:50:16.476" v="871" actId="1076"/>
          <ac:picMkLst>
            <pc:docMk/>
            <pc:sldMk cId="2081665533" sldId="670"/>
            <ac:picMk id="8" creationId="{6312368C-5167-4648-A2DC-804E2AA250E1}"/>
          </ac:picMkLst>
        </pc:picChg>
      </pc:sldChg>
    </pc:docChg>
  </pc:docChgLst>
  <pc:docChgLst>
    <pc:chgData name="Contursi, Massimo" userId="S::mcontursi@minsait.com::c11fe434-fa63-4734-8d01-c2285712721e" providerId="AD" clId="Web-{9983369F-3BD2-EDE2-AA48-F4E63D43C88A}"/>
    <pc:docChg chg="addSld delSld modSld">
      <pc:chgData name="Contursi, Massimo" userId="S::mcontursi@minsait.com::c11fe434-fa63-4734-8d01-c2285712721e" providerId="AD" clId="Web-{9983369F-3BD2-EDE2-AA48-F4E63D43C88A}" dt="2021-06-28T15:15:21.531" v="1341"/>
      <pc:docMkLst>
        <pc:docMk/>
      </pc:docMkLst>
      <pc:sldChg chg="delSp modSp">
        <pc:chgData name="Contursi, Massimo" userId="S::mcontursi@minsait.com::c11fe434-fa63-4734-8d01-c2285712721e" providerId="AD" clId="Web-{9983369F-3BD2-EDE2-AA48-F4E63D43C88A}" dt="2021-06-28T15:13:38.670" v="1285" actId="20577"/>
        <pc:sldMkLst>
          <pc:docMk/>
          <pc:sldMk cId="153700068" sldId="568"/>
        </pc:sldMkLst>
        <pc:spChg chg="mod">
          <ac:chgData name="Contursi, Massimo" userId="S::mcontursi@minsait.com::c11fe434-fa63-4734-8d01-c2285712721e" providerId="AD" clId="Web-{9983369F-3BD2-EDE2-AA48-F4E63D43C88A}" dt="2021-06-28T15:13:38.670" v="1285" actId="20577"/>
          <ac:spMkLst>
            <pc:docMk/>
            <pc:sldMk cId="153700068" sldId="568"/>
            <ac:spMk id="6" creationId="{00000000-0000-0000-0000-000000000000}"/>
          </ac:spMkLst>
        </pc:spChg>
        <pc:spChg chg="mod">
          <ac:chgData name="Contursi, Massimo" userId="S::mcontursi@minsait.com::c11fe434-fa63-4734-8d01-c2285712721e" providerId="AD" clId="Web-{9983369F-3BD2-EDE2-AA48-F4E63D43C88A}" dt="2021-06-28T12:37:25.947" v="500" actId="20577"/>
          <ac:spMkLst>
            <pc:docMk/>
            <pc:sldMk cId="153700068" sldId="568"/>
            <ac:spMk id="9" creationId="{92C4D6DD-881B-984A-9C92-27BA5BC27568}"/>
          </ac:spMkLst>
        </pc:spChg>
        <pc:spChg chg="mod">
          <ac:chgData name="Contursi, Massimo" userId="S::mcontursi@minsait.com::c11fe434-fa63-4734-8d01-c2285712721e" providerId="AD" clId="Web-{9983369F-3BD2-EDE2-AA48-F4E63D43C88A}" dt="2021-06-28T12:40:46.912" v="507" actId="14100"/>
          <ac:spMkLst>
            <pc:docMk/>
            <pc:sldMk cId="153700068" sldId="568"/>
            <ac:spMk id="12" creationId="{00000000-0000-0000-0000-000000000000}"/>
          </ac:spMkLst>
        </pc:spChg>
        <pc:picChg chg="del">
          <ac:chgData name="Contursi, Massimo" userId="S::mcontursi@minsait.com::c11fe434-fa63-4734-8d01-c2285712721e" providerId="AD" clId="Web-{9983369F-3BD2-EDE2-AA48-F4E63D43C88A}" dt="2021-06-28T12:41:04.288" v="508"/>
          <ac:picMkLst>
            <pc:docMk/>
            <pc:sldMk cId="153700068" sldId="568"/>
            <ac:picMk id="7" creationId="{00000000-0000-0000-0000-000000000000}"/>
          </ac:picMkLst>
        </pc:picChg>
      </pc:sldChg>
      <pc:sldChg chg="addSp modSp">
        <pc:chgData name="Contursi, Massimo" userId="S::mcontursi@minsait.com::c11fe434-fa63-4734-8d01-c2285712721e" providerId="AD" clId="Web-{9983369F-3BD2-EDE2-AA48-F4E63D43C88A}" dt="2021-06-28T15:14:40.625" v="1311" actId="20577"/>
        <pc:sldMkLst>
          <pc:docMk/>
          <pc:sldMk cId="2013807645" sldId="569"/>
        </pc:sldMkLst>
        <pc:spChg chg="mod">
          <ac:chgData name="Contursi, Massimo" userId="S::mcontursi@minsait.com::c11fe434-fa63-4734-8d01-c2285712721e" providerId="AD" clId="Web-{9983369F-3BD2-EDE2-AA48-F4E63D43C88A}" dt="2021-06-28T15:14:40.625" v="1311" actId="20577"/>
          <ac:spMkLst>
            <pc:docMk/>
            <pc:sldMk cId="2013807645" sldId="569"/>
            <ac:spMk id="6" creationId="{00000000-0000-0000-0000-000000000000}"/>
          </ac:spMkLst>
        </pc:spChg>
        <pc:spChg chg="mod">
          <ac:chgData name="Contursi, Massimo" userId="S::mcontursi@minsait.com::c11fe434-fa63-4734-8d01-c2285712721e" providerId="AD" clId="Web-{9983369F-3BD2-EDE2-AA48-F4E63D43C88A}" dt="2021-06-28T13:15:50.030" v="893" actId="20577"/>
          <ac:spMkLst>
            <pc:docMk/>
            <pc:sldMk cId="2013807645" sldId="569"/>
            <ac:spMk id="9" creationId="{92C4D6DD-881B-984A-9C92-27BA5BC27568}"/>
          </ac:spMkLst>
        </pc:spChg>
        <pc:spChg chg="mod">
          <ac:chgData name="Contursi, Massimo" userId="S::mcontursi@minsait.com::c11fe434-fa63-4734-8d01-c2285712721e" providerId="AD" clId="Web-{9983369F-3BD2-EDE2-AA48-F4E63D43C88A}" dt="2021-06-28T13:18:19.554" v="908" actId="14100"/>
          <ac:spMkLst>
            <pc:docMk/>
            <pc:sldMk cId="2013807645" sldId="569"/>
            <ac:spMk id="12" creationId="{00000000-0000-0000-0000-000000000000}"/>
          </ac:spMkLst>
        </pc:spChg>
        <pc:picChg chg="add mod">
          <ac:chgData name="Contursi, Massimo" userId="S::mcontursi@minsait.com::c11fe434-fa63-4734-8d01-c2285712721e" providerId="AD" clId="Web-{9983369F-3BD2-EDE2-AA48-F4E63D43C88A}" dt="2021-06-28T13:18:19.789" v="911" actId="1076"/>
          <ac:picMkLst>
            <pc:docMk/>
            <pc:sldMk cId="2013807645" sldId="569"/>
            <ac:picMk id="4" creationId="{4DE5BEB2-8EA4-489B-9AD3-BBDD1D9F485F}"/>
          </ac:picMkLst>
        </pc:picChg>
      </pc:sldChg>
      <pc:sldChg chg="addSp modSp">
        <pc:chgData name="Contursi, Massimo" userId="S::mcontursi@minsait.com::c11fe434-fa63-4734-8d01-c2285712721e" providerId="AD" clId="Web-{9983369F-3BD2-EDE2-AA48-F4E63D43C88A}" dt="2021-06-28T15:14:50.968" v="1314" actId="20577"/>
        <pc:sldMkLst>
          <pc:docMk/>
          <pc:sldMk cId="506634085" sldId="570"/>
        </pc:sldMkLst>
        <pc:spChg chg="mod">
          <ac:chgData name="Contursi, Massimo" userId="S::mcontursi@minsait.com::c11fe434-fa63-4734-8d01-c2285712721e" providerId="AD" clId="Web-{9983369F-3BD2-EDE2-AA48-F4E63D43C88A}" dt="2021-06-28T15:14:50.968" v="1314" actId="20577"/>
          <ac:spMkLst>
            <pc:docMk/>
            <pc:sldMk cId="506634085" sldId="570"/>
            <ac:spMk id="6" creationId="{00000000-0000-0000-0000-000000000000}"/>
          </ac:spMkLst>
        </pc:spChg>
        <pc:spChg chg="mod">
          <ac:chgData name="Contursi, Massimo" userId="S::mcontursi@minsait.com::c11fe434-fa63-4734-8d01-c2285712721e" providerId="AD" clId="Web-{9983369F-3BD2-EDE2-AA48-F4E63D43C88A}" dt="2021-06-28T13:19:59.310" v="943" actId="20577"/>
          <ac:spMkLst>
            <pc:docMk/>
            <pc:sldMk cId="506634085" sldId="570"/>
            <ac:spMk id="9" creationId="{92C4D6DD-881B-984A-9C92-27BA5BC27568}"/>
          </ac:spMkLst>
        </pc:spChg>
        <pc:spChg chg="mod">
          <ac:chgData name="Contursi, Massimo" userId="S::mcontursi@minsait.com::c11fe434-fa63-4734-8d01-c2285712721e" providerId="AD" clId="Web-{9983369F-3BD2-EDE2-AA48-F4E63D43C88A}" dt="2021-06-28T13:20:05.607" v="945" actId="20577"/>
          <ac:spMkLst>
            <pc:docMk/>
            <pc:sldMk cId="506634085" sldId="570"/>
            <ac:spMk id="12" creationId="{00000000-0000-0000-0000-000000000000}"/>
          </ac:spMkLst>
        </pc:spChg>
        <pc:picChg chg="add mod">
          <ac:chgData name="Contursi, Massimo" userId="S::mcontursi@minsait.com::c11fe434-fa63-4734-8d01-c2285712721e" providerId="AD" clId="Web-{9983369F-3BD2-EDE2-AA48-F4E63D43C88A}" dt="2021-06-28T13:20:18.576" v="948" actId="14100"/>
          <ac:picMkLst>
            <pc:docMk/>
            <pc:sldMk cId="506634085" sldId="570"/>
            <ac:picMk id="4" creationId="{28653E76-D5D0-4015-A36E-B2B4C97948EC}"/>
          </ac:picMkLst>
        </pc:picChg>
      </pc:sldChg>
      <pc:sldChg chg="del">
        <pc:chgData name="Contursi, Massimo" userId="S::mcontursi@minsait.com::c11fe434-fa63-4734-8d01-c2285712721e" providerId="AD" clId="Web-{9983369F-3BD2-EDE2-AA48-F4E63D43C88A}" dt="2021-06-28T13:31:55.928" v="978"/>
        <pc:sldMkLst>
          <pc:docMk/>
          <pc:sldMk cId="3451784476" sldId="571"/>
        </pc:sldMkLst>
      </pc:sldChg>
      <pc:sldChg chg="del">
        <pc:chgData name="Contursi, Massimo" userId="S::mcontursi@minsait.com::c11fe434-fa63-4734-8d01-c2285712721e" providerId="AD" clId="Web-{9983369F-3BD2-EDE2-AA48-F4E63D43C88A}" dt="2021-06-28T13:32:01.241" v="979"/>
        <pc:sldMkLst>
          <pc:docMk/>
          <pc:sldMk cId="788401798" sldId="572"/>
        </pc:sldMkLst>
      </pc:sldChg>
      <pc:sldChg chg="del">
        <pc:chgData name="Contursi, Massimo" userId="S::mcontursi@minsait.com::c11fe434-fa63-4734-8d01-c2285712721e" providerId="AD" clId="Web-{9983369F-3BD2-EDE2-AA48-F4E63D43C88A}" dt="2021-06-28T13:32:01.413" v="980"/>
        <pc:sldMkLst>
          <pc:docMk/>
          <pc:sldMk cId="514689071" sldId="573"/>
        </pc:sldMkLst>
      </pc:sldChg>
      <pc:sldChg chg="modSp">
        <pc:chgData name="Contursi, Massimo" userId="S::mcontursi@minsait.com::c11fe434-fa63-4734-8d01-c2285712721e" providerId="AD" clId="Web-{9983369F-3BD2-EDE2-AA48-F4E63D43C88A}" dt="2021-06-28T15:06:56.598" v="1133" actId="20577"/>
        <pc:sldMkLst>
          <pc:docMk/>
          <pc:sldMk cId="3120704213" sldId="637"/>
        </pc:sldMkLst>
        <pc:spChg chg="mod">
          <ac:chgData name="Contursi, Massimo" userId="S::mcontursi@minsait.com::c11fe434-fa63-4734-8d01-c2285712721e" providerId="AD" clId="Web-{9983369F-3BD2-EDE2-AA48-F4E63D43C88A}" dt="2021-06-28T15:06:56.598" v="1133" actId="20577"/>
          <ac:spMkLst>
            <pc:docMk/>
            <pc:sldMk cId="3120704213" sldId="637"/>
            <ac:spMk id="6" creationId="{00000000-0000-0000-0000-000000000000}"/>
          </ac:spMkLst>
        </pc:spChg>
      </pc:sldChg>
      <pc:sldChg chg="modSp">
        <pc:chgData name="Contursi, Massimo" userId="S::mcontursi@minsait.com::c11fe434-fa63-4734-8d01-c2285712721e" providerId="AD" clId="Web-{9983369F-3BD2-EDE2-AA48-F4E63D43C88A}" dt="2021-06-28T08:16:29.895" v="7" actId="20577"/>
        <pc:sldMkLst>
          <pc:docMk/>
          <pc:sldMk cId="2861900752" sldId="641"/>
        </pc:sldMkLst>
        <pc:spChg chg="mod">
          <ac:chgData name="Contursi, Massimo" userId="S::mcontursi@minsait.com::c11fe434-fa63-4734-8d01-c2285712721e" providerId="AD" clId="Web-{9983369F-3BD2-EDE2-AA48-F4E63D43C88A}" dt="2021-06-28T08:16:29.708" v="5" actId="20577"/>
          <ac:spMkLst>
            <pc:docMk/>
            <pc:sldMk cId="2861900752" sldId="641"/>
            <ac:spMk id="3" creationId="{00000000-0000-0000-0000-000000000000}"/>
          </ac:spMkLst>
        </pc:spChg>
        <pc:spChg chg="mod">
          <ac:chgData name="Contursi, Massimo" userId="S::mcontursi@minsait.com::c11fe434-fa63-4734-8d01-c2285712721e" providerId="AD" clId="Web-{9983369F-3BD2-EDE2-AA48-F4E63D43C88A}" dt="2021-06-28T08:16:29.895" v="7" actId="20577"/>
          <ac:spMkLst>
            <pc:docMk/>
            <pc:sldMk cId="2861900752" sldId="641"/>
            <ac:spMk id="4" creationId="{00000000-0000-0000-0000-000000000000}"/>
          </ac:spMkLst>
        </pc:spChg>
      </pc:sldChg>
      <pc:sldChg chg="addSp delSp modSp">
        <pc:chgData name="Contursi, Massimo" userId="S::mcontursi@minsait.com::c11fe434-fa63-4734-8d01-c2285712721e" providerId="AD" clId="Web-{9983369F-3BD2-EDE2-AA48-F4E63D43C88A}" dt="2021-06-28T15:10:31.822" v="1211" actId="20577"/>
        <pc:sldMkLst>
          <pc:docMk/>
          <pc:sldMk cId="1028396927" sldId="642"/>
        </pc:sldMkLst>
        <pc:spChg chg="mod">
          <ac:chgData name="Contursi, Massimo" userId="S::mcontursi@minsait.com::c11fe434-fa63-4734-8d01-c2285712721e" providerId="AD" clId="Web-{9983369F-3BD2-EDE2-AA48-F4E63D43C88A}" dt="2021-06-28T08:19:55.400" v="35" actId="20577"/>
          <ac:spMkLst>
            <pc:docMk/>
            <pc:sldMk cId="1028396927" sldId="642"/>
            <ac:spMk id="5" creationId="{8FFCB682-A2FC-CA4B-AF1F-9B44DC3872A4}"/>
          </ac:spMkLst>
        </pc:spChg>
        <pc:spChg chg="mod">
          <ac:chgData name="Contursi, Massimo" userId="S::mcontursi@minsait.com::c11fe434-fa63-4734-8d01-c2285712721e" providerId="AD" clId="Web-{9983369F-3BD2-EDE2-AA48-F4E63D43C88A}" dt="2021-06-28T15:10:31.822" v="1211" actId="20577"/>
          <ac:spMkLst>
            <pc:docMk/>
            <pc:sldMk cId="1028396927" sldId="642"/>
            <ac:spMk id="6" creationId="{00000000-0000-0000-0000-000000000000}"/>
          </ac:spMkLst>
        </pc:spChg>
        <pc:spChg chg="mod">
          <ac:chgData name="Contursi, Massimo" userId="S::mcontursi@minsait.com::c11fe434-fa63-4734-8d01-c2285712721e" providerId="AD" clId="Web-{9983369F-3BD2-EDE2-AA48-F4E63D43C88A}" dt="2021-06-28T08:17:39.694" v="19" actId="20577"/>
          <ac:spMkLst>
            <pc:docMk/>
            <pc:sldMk cId="1028396927" sldId="642"/>
            <ac:spMk id="9" creationId="{92C4D6DD-881B-984A-9C92-27BA5BC27568}"/>
          </ac:spMkLst>
        </pc:spChg>
        <pc:spChg chg="mod">
          <ac:chgData name="Contursi, Massimo" userId="S::mcontursi@minsait.com::c11fe434-fa63-4734-8d01-c2285712721e" providerId="AD" clId="Web-{9983369F-3BD2-EDE2-AA48-F4E63D43C88A}" dt="2021-06-28T08:16:38.645" v="9" actId="20577"/>
          <ac:spMkLst>
            <pc:docMk/>
            <pc:sldMk cId="1028396927" sldId="642"/>
            <ac:spMk id="12" creationId="{00000000-0000-0000-0000-000000000000}"/>
          </ac:spMkLst>
        </pc:spChg>
        <pc:picChg chg="del">
          <ac:chgData name="Contursi, Massimo" userId="S::mcontursi@minsait.com::c11fe434-fa63-4734-8d01-c2285712721e" providerId="AD" clId="Web-{9983369F-3BD2-EDE2-AA48-F4E63D43C88A}" dt="2021-06-28T08:16:38.833" v="10"/>
          <ac:picMkLst>
            <pc:docMk/>
            <pc:sldMk cId="1028396927" sldId="642"/>
            <ac:picMk id="4" creationId="{00000000-0000-0000-0000-000000000000}"/>
          </ac:picMkLst>
        </pc:picChg>
        <pc:picChg chg="del">
          <ac:chgData name="Contursi, Massimo" userId="S::mcontursi@minsait.com::c11fe434-fa63-4734-8d01-c2285712721e" providerId="AD" clId="Web-{9983369F-3BD2-EDE2-AA48-F4E63D43C88A}" dt="2021-06-28T08:16:39.192" v="11"/>
          <ac:picMkLst>
            <pc:docMk/>
            <pc:sldMk cId="1028396927" sldId="642"/>
            <ac:picMk id="8" creationId="{00000000-0000-0000-0000-000000000000}"/>
          </ac:picMkLst>
        </pc:picChg>
        <pc:picChg chg="del">
          <ac:chgData name="Contursi, Massimo" userId="S::mcontursi@minsait.com::c11fe434-fa63-4734-8d01-c2285712721e" providerId="AD" clId="Web-{9983369F-3BD2-EDE2-AA48-F4E63D43C88A}" dt="2021-06-28T08:16:40.427" v="12"/>
          <ac:picMkLst>
            <pc:docMk/>
            <pc:sldMk cId="1028396927" sldId="642"/>
            <ac:picMk id="10" creationId="{00000000-0000-0000-0000-000000000000}"/>
          </ac:picMkLst>
        </pc:picChg>
        <pc:picChg chg="del">
          <ac:chgData name="Contursi, Massimo" userId="S::mcontursi@minsait.com::c11fe434-fa63-4734-8d01-c2285712721e" providerId="AD" clId="Web-{9983369F-3BD2-EDE2-AA48-F4E63D43C88A}" dt="2021-06-28T08:16:41.364" v="13"/>
          <ac:picMkLst>
            <pc:docMk/>
            <pc:sldMk cId="1028396927" sldId="642"/>
            <ac:picMk id="11" creationId="{00000000-0000-0000-0000-000000000000}"/>
          </ac:picMkLst>
        </pc:picChg>
        <pc:picChg chg="add mod">
          <ac:chgData name="Contursi, Massimo" userId="S::mcontursi@minsait.com::c11fe434-fa63-4734-8d01-c2285712721e" providerId="AD" clId="Web-{9983369F-3BD2-EDE2-AA48-F4E63D43C88A}" dt="2021-06-28T08:17:44.834" v="21" actId="1076"/>
          <ac:picMkLst>
            <pc:docMk/>
            <pc:sldMk cId="1028396927" sldId="642"/>
            <ac:picMk id="13" creationId="{86E8B317-46D6-4F4C-8ACF-8C7D6430EA23}"/>
          </ac:picMkLst>
        </pc:picChg>
      </pc:sldChg>
      <pc:sldChg chg="modSp">
        <pc:chgData name="Contursi, Massimo" userId="S::mcontursi@minsait.com::c11fe434-fa63-4734-8d01-c2285712721e" providerId="AD" clId="Web-{9983369F-3BD2-EDE2-AA48-F4E63D43C88A}" dt="2021-06-28T15:07:27.740" v="1150" actId="20577"/>
        <pc:sldMkLst>
          <pc:docMk/>
          <pc:sldMk cId="3313180289" sldId="644"/>
        </pc:sldMkLst>
        <pc:spChg chg="mod">
          <ac:chgData name="Contursi, Massimo" userId="S::mcontursi@minsait.com::c11fe434-fa63-4734-8d01-c2285712721e" providerId="AD" clId="Web-{9983369F-3BD2-EDE2-AA48-F4E63D43C88A}" dt="2021-06-28T15:07:27.740" v="1150" actId="20577"/>
          <ac:spMkLst>
            <pc:docMk/>
            <pc:sldMk cId="3313180289" sldId="644"/>
            <ac:spMk id="6" creationId="{00000000-0000-0000-0000-000000000000}"/>
          </ac:spMkLst>
        </pc:spChg>
      </pc:sldChg>
      <pc:sldChg chg="modSp">
        <pc:chgData name="Contursi, Massimo" userId="S::mcontursi@minsait.com::c11fe434-fa63-4734-8d01-c2285712721e" providerId="AD" clId="Web-{9983369F-3BD2-EDE2-AA48-F4E63D43C88A}" dt="2021-06-28T15:07:11.614" v="1135" actId="20577"/>
        <pc:sldMkLst>
          <pc:docMk/>
          <pc:sldMk cId="3777044045" sldId="646"/>
        </pc:sldMkLst>
        <pc:spChg chg="mod">
          <ac:chgData name="Contursi, Massimo" userId="S::mcontursi@minsait.com::c11fe434-fa63-4734-8d01-c2285712721e" providerId="AD" clId="Web-{9983369F-3BD2-EDE2-AA48-F4E63D43C88A}" dt="2021-06-28T15:07:11.614" v="1135" actId="20577"/>
          <ac:spMkLst>
            <pc:docMk/>
            <pc:sldMk cId="3777044045" sldId="646"/>
            <ac:spMk id="3" creationId="{310F2569-3E58-41DC-A95C-87AF89734BBB}"/>
          </ac:spMkLst>
        </pc:spChg>
      </pc:sldChg>
      <pc:sldChg chg="modSp">
        <pc:chgData name="Contursi, Massimo" userId="S::mcontursi@minsait.com::c11fe434-fa63-4734-8d01-c2285712721e" providerId="AD" clId="Web-{9983369F-3BD2-EDE2-AA48-F4E63D43C88A}" dt="2021-06-28T15:07:19.224" v="1137" actId="20577"/>
        <pc:sldMkLst>
          <pc:docMk/>
          <pc:sldMk cId="4113348526" sldId="647"/>
        </pc:sldMkLst>
        <pc:spChg chg="mod">
          <ac:chgData name="Contursi, Massimo" userId="S::mcontursi@minsait.com::c11fe434-fa63-4734-8d01-c2285712721e" providerId="AD" clId="Web-{9983369F-3BD2-EDE2-AA48-F4E63D43C88A}" dt="2021-06-28T15:07:19.224" v="1137" actId="20577"/>
          <ac:spMkLst>
            <pc:docMk/>
            <pc:sldMk cId="4113348526" sldId="647"/>
            <ac:spMk id="6" creationId="{00000000-0000-0000-0000-000000000000}"/>
          </ac:spMkLst>
        </pc:spChg>
      </pc:sldChg>
      <pc:sldChg chg="modSp">
        <pc:chgData name="Contursi, Massimo" userId="S::mcontursi@minsait.com::c11fe434-fa63-4734-8d01-c2285712721e" providerId="AD" clId="Web-{9983369F-3BD2-EDE2-AA48-F4E63D43C88A}" dt="2021-06-28T15:07:19.490" v="1139" actId="20577"/>
        <pc:sldMkLst>
          <pc:docMk/>
          <pc:sldMk cId="1411918635" sldId="648"/>
        </pc:sldMkLst>
        <pc:spChg chg="mod">
          <ac:chgData name="Contursi, Massimo" userId="S::mcontursi@minsait.com::c11fe434-fa63-4734-8d01-c2285712721e" providerId="AD" clId="Web-{9983369F-3BD2-EDE2-AA48-F4E63D43C88A}" dt="2021-06-28T15:07:19.490" v="1139" actId="20577"/>
          <ac:spMkLst>
            <pc:docMk/>
            <pc:sldMk cId="1411918635" sldId="648"/>
            <ac:spMk id="6" creationId="{00000000-0000-0000-0000-000000000000}"/>
          </ac:spMkLst>
        </pc:spChg>
      </pc:sldChg>
      <pc:sldChg chg="modSp">
        <pc:chgData name="Contursi, Massimo" userId="S::mcontursi@minsait.com::c11fe434-fa63-4734-8d01-c2285712721e" providerId="AD" clId="Web-{9983369F-3BD2-EDE2-AA48-F4E63D43C88A}" dt="2021-06-28T15:07:39.006" v="1154" actId="20577"/>
        <pc:sldMkLst>
          <pc:docMk/>
          <pc:sldMk cId="2622516054" sldId="649"/>
        </pc:sldMkLst>
        <pc:spChg chg="mod">
          <ac:chgData name="Contursi, Massimo" userId="S::mcontursi@minsait.com::c11fe434-fa63-4734-8d01-c2285712721e" providerId="AD" clId="Web-{9983369F-3BD2-EDE2-AA48-F4E63D43C88A}" dt="2021-06-28T15:07:39.006" v="1154" actId="20577"/>
          <ac:spMkLst>
            <pc:docMk/>
            <pc:sldMk cId="2622516054" sldId="649"/>
            <ac:spMk id="6" creationId="{00000000-0000-0000-0000-000000000000}"/>
          </ac:spMkLst>
        </pc:spChg>
      </pc:sldChg>
      <pc:sldChg chg="modSp">
        <pc:chgData name="Contursi, Massimo" userId="S::mcontursi@minsait.com::c11fe434-fa63-4734-8d01-c2285712721e" providerId="AD" clId="Web-{9983369F-3BD2-EDE2-AA48-F4E63D43C88A}" dt="2021-06-28T15:07:48.990" v="1156" actId="20577"/>
        <pc:sldMkLst>
          <pc:docMk/>
          <pc:sldMk cId="1389787548" sldId="650"/>
        </pc:sldMkLst>
        <pc:spChg chg="mod">
          <ac:chgData name="Contursi, Massimo" userId="S::mcontursi@minsait.com::c11fe434-fa63-4734-8d01-c2285712721e" providerId="AD" clId="Web-{9983369F-3BD2-EDE2-AA48-F4E63D43C88A}" dt="2021-06-28T15:07:48.990" v="1156" actId="20577"/>
          <ac:spMkLst>
            <pc:docMk/>
            <pc:sldMk cId="1389787548" sldId="650"/>
            <ac:spMk id="6" creationId="{00000000-0000-0000-0000-000000000000}"/>
          </ac:spMkLst>
        </pc:spChg>
      </pc:sldChg>
      <pc:sldChg chg="modSp">
        <pc:chgData name="Contursi, Massimo" userId="S::mcontursi@minsait.com::c11fe434-fa63-4734-8d01-c2285712721e" providerId="AD" clId="Web-{9983369F-3BD2-EDE2-AA48-F4E63D43C88A}" dt="2021-06-28T15:07:38.928" v="1153" actId="20577"/>
        <pc:sldMkLst>
          <pc:docMk/>
          <pc:sldMk cId="3201725970" sldId="651"/>
        </pc:sldMkLst>
        <pc:spChg chg="mod">
          <ac:chgData name="Contursi, Massimo" userId="S::mcontursi@minsait.com::c11fe434-fa63-4734-8d01-c2285712721e" providerId="AD" clId="Web-{9983369F-3BD2-EDE2-AA48-F4E63D43C88A}" dt="2021-06-28T15:07:38.928" v="1153" actId="20577"/>
          <ac:spMkLst>
            <pc:docMk/>
            <pc:sldMk cId="3201725970" sldId="651"/>
            <ac:spMk id="6" creationId="{00000000-0000-0000-0000-000000000000}"/>
          </ac:spMkLst>
        </pc:spChg>
      </pc:sldChg>
      <pc:sldChg chg="modSp">
        <pc:chgData name="Contursi, Massimo" userId="S::mcontursi@minsait.com::c11fe434-fa63-4734-8d01-c2285712721e" providerId="AD" clId="Web-{9983369F-3BD2-EDE2-AA48-F4E63D43C88A}" dt="2021-06-28T15:07:27.787" v="1151" actId="20577"/>
        <pc:sldMkLst>
          <pc:docMk/>
          <pc:sldMk cId="4088766056" sldId="652"/>
        </pc:sldMkLst>
        <pc:spChg chg="mod">
          <ac:chgData name="Contursi, Massimo" userId="S::mcontursi@minsait.com::c11fe434-fa63-4734-8d01-c2285712721e" providerId="AD" clId="Web-{9983369F-3BD2-EDE2-AA48-F4E63D43C88A}" dt="2021-06-28T15:07:27.787" v="1151" actId="20577"/>
          <ac:spMkLst>
            <pc:docMk/>
            <pc:sldMk cId="4088766056" sldId="652"/>
            <ac:spMk id="6" creationId="{00000000-0000-0000-0000-000000000000}"/>
          </ac:spMkLst>
        </pc:spChg>
      </pc:sldChg>
      <pc:sldChg chg="modSp">
        <pc:chgData name="Contursi, Massimo" userId="S::mcontursi@minsait.com::c11fe434-fa63-4734-8d01-c2285712721e" providerId="AD" clId="Web-{9983369F-3BD2-EDE2-AA48-F4E63D43C88A}" dt="2021-06-28T15:07:49.100" v="1158" actId="20577"/>
        <pc:sldMkLst>
          <pc:docMk/>
          <pc:sldMk cId="3152649728" sldId="653"/>
        </pc:sldMkLst>
        <pc:spChg chg="mod">
          <ac:chgData name="Contursi, Massimo" userId="S::mcontursi@minsait.com::c11fe434-fa63-4734-8d01-c2285712721e" providerId="AD" clId="Web-{9983369F-3BD2-EDE2-AA48-F4E63D43C88A}" dt="2021-06-28T15:07:49.100" v="1158" actId="20577"/>
          <ac:spMkLst>
            <pc:docMk/>
            <pc:sldMk cId="3152649728" sldId="653"/>
            <ac:spMk id="6" creationId="{00000000-0000-0000-0000-000000000000}"/>
          </ac:spMkLst>
        </pc:spChg>
      </pc:sldChg>
      <pc:sldChg chg="modSp">
        <pc:chgData name="Contursi, Massimo" userId="S::mcontursi@minsait.com::c11fe434-fa63-4734-8d01-c2285712721e" providerId="AD" clId="Web-{9983369F-3BD2-EDE2-AA48-F4E63D43C88A}" dt="2021-06-28T15:07:59.787" v="1162" actId="20577"/>
        <pc:sldMkLst>
          <pc:docMk/>
          <pc:sldMk cId="1728840676" sldId="654"/>
        </pc:sldMkLst>
        <pc:spChg chg="mod">
          <ac:chgData name="Contursi, Massimo" userId="S::mcontursi@minsait.com::c11fe434-fa63-4734-8d01-c2285712721e" providerId="AD" clId="Web-{9983369F-3BD2-EDE2-AA48-F4E63D43C88A}" dt="2021-06-28T15:07:59.787" v="1162" actId="20577"/>
          <ac:spMkLst>
            <pc:docMk/>
            <pc:sldMk cId="1728840676" sldId="654"/>
            <ac:spMk id="6" creationId="{00000000-0000-0000-0000-000000000000}"/>
          </ac:spMkLst>
        </pc:spChg>
      </pc:sldChg>
      <pc:sldChg chg="modSp">
        <pc:chgData name="Contursi, Massimo" userId="S::mcontursi@minsait.com::c11fe434-fa63-4734-8d01-c2285712721e" providerId="AD" clId="Web-{9983369F-3BD2-EDE2-AA48-F4E63D43C88A}" dt="2021-06-28T15:07:59.678" v="1160" actId="20577"/>
        <pc:sldMkLst>
          <pc:docMk/>
          <pc:sldMk cId="3608399352" sldId="655"/>
        </pc:sldMkLst>
        <pc:spChg chg="mod">
          <ac:chgData name="Contursi, Massimo" userId="S::mcontursi@minsait.com::c11fe434-fa63-4734-8d01-c2285712721e" providerId="AD" clId="Web-{9983369F-3BD2-EDE2-AA48-F4E63D43C88A}" dt="2021-06-28T15:07:59.678" v="1160" actId="20577"/>
          <ac:spMkLst>
            <pc:docMk/>
            <pc:sldMk cId="3608399352" sldId="655"/>
            <ac:spMk id="6" creationId="{00000000-0000-0000-0000-000000000000}"/>
          </ac:spMkLst>
        </pc:spChg>
      </pc:sldChg>
      <pc:sldChg chg="modSp">
        <pc:chgData name="Contursi, Massimo" userId="S::mcontursi@minsait.com::c11fe434-fa63-4734-8d01-c2285712721e" providerId="AD" clId="Web-{9983369F-3BD2-EDE2-AA48-F4E63D43C88A}" dt="2021-06-28T15:08:17.131" v="1164" actId="20577"/>
        <pc:sldMkLst>
          <pc:docMk/>
          <pc:sldMk cId="2742540505" sldId="656"/>
        </pc:sldMkLst>
        <pc:spChg chg="mod">
          <ac:chgData name="Contursi, Massimo" userId="S::mcontursi@minsait.com::c11fe434-fa63-4734-8d01-c2285712721e" providerId="AD" clId="Web-{9983369F-3BD2-EDE2-AA48-F4E63D43C88A}" dt="2021-06-28T15:08:17.131" v="1164" actId="20577"/>
          <ac:spMkLst>
            <pc:docMk/>
            <pc:sldMk cId="2742540505" sldId="656"/>
            <ac:spMk id="6" creationId="{00000000-0000-0000-0000-000000000000}"/>
          </ac:spMkLst>
        </pc:spChg>
      </pc:sldChg>
      <pc:sldChg chg="modSp">
        <pc:chgData name="Contursi, Massimo" userId="S::mcontursi@minsait.com::c11fe434-fa63-4734-8d01-c2285712721e" providerId="AD" clId="Web-{9983369F-3BD2-EDE2-AA48-F4E63D43C88A}" dt="2021-06-28T15:08:24.241" v="1167" actId="20577"/>
        <pc:sldMkLst>
          <pc:docMk/>
          <pc:sldMk cId="1997597471" sldId="657"/>
        </pc:sldMkLst>
        <pc:spChg chg="mod">
          <ac:chgData name="Contursi, Massimo" userId="S::mcontursi@minsait.com::c11fe434-fa63-4734-8d01-c2285712721e" providerId="AD" clId="Web-{9983369F-3BD2-EDE2-AA48-F4E63D43C88A}" dt="2021-06-28T15:08:24.241" v="1167" actId="20577"/>
          <ac:spMkLst>
            <pc:docMk/>
            <pc:sldMk cId="1997597471" sldId="657"/>
            <ac:spMk id="6" creationId="{00000000-0000-0000-0000-000000000000}"/>
          </ac:spMkLst>
        </pc:spChg>
      </pc:sldChg>
      <pc:sldChg chg="modSp">
        <pc:chgData name="Contursi, Massimo" userId="S::mcontursi@minsait.com::c11fe434-fa63-4734-8d01-c2285712721e" providerId="AD" clId="Web-{9983369F-3BD2-EDE2-AA48-F4E63D43C88A}" dt="2021-06-28T15:08:24.397" v="1169" actId="20577"/>
        <pc:sldMkLst>
          <pc:docMk/>
          <pc:sldMk cId="1590590945" sldId="658"/>
        </pc:sldMkLst>
        <pc:spChg chg="mod">
          <ac:chgData name="Contursi, Massimo" userId="S::mcontursi@minsait.com::c11fe434-fa63-4734-8d01-c2285712721e" providerId="AD" clId="Web-{9983369F-3BD2-EDE2-AA48-F4E63D43C88A}" dt="2021-06-28T15:08:24.397" v="1169" actId="20577"/>
          <ac:spMkLst>
            <pc:docMk/>
            <pc:sldMk cId="1590590945" sldId="658"/>
            <ac:spMk id="6" creationId="{00000000-0000-0000-0000-000000000000}"/>
          </ac:spMkLst>
        </pc:spChg>
      </pc:sldChg>
      <pc:sldChg chg="modSp">
        <pc:chgData name="Contursi, Massimo" userId="S::mcontursi@minsait.com::c11fe434-fa63-4734-8d01-c2285712721e" providerId="AD" clId="Web-{9983369F-3BD2-EDE2-AA48-F4E63D43C88A}" dt="2021-06-28T15:08:23.819" v="1165" actId="20577"/>
        <pc:sldMkLst>
          <pc:docMk/>
          <pc:sldMk cId="3420433618" sldId="659"/>
        </pc:sldMkLst>
        <pc:spChg chg="mod">
          <ac:chgData name="Contursi, Massimo" userId="S::mcontursi@minsait.com::c11fe434-fa63-4734-8d01-c2285712721e" providerId="AD" clId="Web-{9983369F-3BD2-EDE2-AA48-F4E63D43C88A}" dt="2021-06-28T15:08:23.819" v="1165" actId="20577"/>
          <ac:spMkLst>
            <pc:docMk/>
            <pc:sldMk cId="3420433618" sldId="659"/>
            <ac:spMk id="6" creationId="{00000000-0000-0000-0000-000000000000}"/>
          </ac:spMkLst>
        </pc:spChg>
      </pc:sldChg>
      <pc:sldChg chg="modSp">
        <pc:chgData name="Contursi, Massimo" userId="S::mcontursi@minsait.com::c11fe434-fa63-4734-8d01-c2285712721e" providerId="AD" clId="Web-{9983369F-3BD2-EDE2-AA48-F4E63D43C88A}" dt="2021-06-28T15:08:24.538" v="1171" actId="20577"/>
        <pc:sldMkLst>
          <pc:docMk/>
          <pc:sldMk cId="2953705859" sldId="660"/>
        </pc:sldMkLst>
        <pc:spChg chg="mod">
          <ac:chgData name="Contursi, Massimo" userId="S::mcontursi@minsait.com::c11fe434-fa63-4734-8d01-c2285712721e" providerId="AD" clId="Web-{9983369F-3BD2-EDE2-AA48-F4E63D43C88A}" dt="2021-06-28T15:08:24.538" v="1171" actId="20577"/>
          <ac:spMkLst>
            <pc:docMk/>
            <pc:sldMk cId="2953705859" sldId="660"/>
            <ac:spMk id="6" creationId="{00000000-0000-0000-0000-000000000000}"/>
          </ac:spMkLst>
        </pc:spChg>
      </pc:sldChg>
      <pc:sldChg chg="modSp">
        <pc:chgData name="Contursi, Massimo" userId="S::mcontursi@minsait.com::c11fe434-fa63-4734-8d01-c2285712721e" providerId="AD" clId="Web-{9983369F-3BD2-EDE2-AA48-F4E63D43C88A}" dt="2021-06-28T15:08:32.538" v="1175" actId="20577"/>
        <pc:sldMkLst>
          <pc:docMk/>
          <pc:sldMk cId="2357917950" sldId="661"/>
        </pc:sldMkLst>
        <pc:spChg chg="mod">
          <ac:chgData name="Contursi, Massimo" userId="S::mcontursi@minsait.com::c11fe434-fa63-4734-8d01-c2285712721e" providerId="AD" clId="Web-{9983369F-3BD2-EDE2-AA48-F4E63D43C88A}" dt="2021-06-28T15:08:32.538" v="1175" actId="20577"/>
          <ac:spMkLst>
            <pc:docMk/>
            <pc:sldMk cId="2357917950" sldId="661"/>
            <ac:spMk id="6" creationId="{00000000-0000-0000-0000-000000000000}"/>
          </ac:spMkLst>
        </pc:spChg>
      </pc:sldChg>
      <pc:sldChg chg="modSp">
        <pc:chgData name="Contursi, Massimo" userId="S::mcontursi@minsait.com::c11fe434-fa63-4734-8d01-c2285712721e" providerId="AD" clId="Web-{9983369F-3BD2-EDE2-AA48-F4E63D43C88A}" dt="2021-06-28T15:08:24.647" v="1173" actId="20577"/>
        <pc:sldMkLst>
          <pc:docMk/>
          <pc:sldMk cId="485171404" sldId="662"/>
        </pc:sldMkLst>
        <pc:spChg chg="mod">
          <ac:chgData name="Contursi, Massimo" userId="S::mcontursi@minsait.com::c11fe434-fa63-4734-8d01-c2285712721e" providerId="AD" clId="Web-{9983369F-3BD2-EDE2-AA48-F4E63D43C88A}" dt="2021-06-28T15:08:24.647" v="1173" actId="20577"/>
          <ac:spMkLst>
            <pc:docMk/>
            <pc:sldMk cId="485171404" sldId="662"/>
            <ac:spMk id="6" creationId="{00000000-0000-0000-0000-000000000000}"/>
          </ac:spMkLst>
        </pc:spChg>
      </pc:sldChg>
      <pc:sldChg chg="modSp">
        <pc:chgData name="Contursi, Massimo" userId="S::mcontursi@minsait.com::c11fe434-fa63-4734-8d01-c2285712721e" providerId="AD" clId="Web-{9983369F-3BD2-EDE2-AA48-F4E63D43C88A}" dt="2021-06-28T15:08:32.679" v="1177" actId="20577"/>
        <pc:sldMkLst>
          <pc:docMk/>
          <pc:sldMk cId="261105299" sldId="663"/>
        </pc:sldMkLst>
        <pc:spChg chg="mod">
          <ac:chgData name="Contursi, Massimo" userId="S::mcontursi@minsait.com::c11fe434-fa63-4734-8d01-c2285712721e" providerId="AD" clId="Web-{9983369F-3BD2-EDE2-AA48-F4E63D43C88A}" dt="2021-06-28T15:08:32.679" v="1177" actId="20577"/>
          <ac:spMkLst>
            <pc:docMk/>
            <pc:sldMk cId="261105299" sldId="663"/>
            <ac:spMk id="6" creationId="{00000000-0000-0000-0000-000000000000}"/>
          </ac:spMkLst>
        </pc:spChg>
      </pc:sldChg>
      <pc:sldChg chg="modSp">
        <pc:chgData name="Contursi, Massimo" userId="S::mcontursi@minsait.com::c11fe434-fa63-4734-8d01-c2285712721e" providerId="AD" clId="Web-{9983369F-3BD2-EDE2-AA48-F4E63D43C88A}" dt="2021-06-28T15:08:35.351" v="1178" actId="20577"/>
        <pc:sldMkLst>
          <pc:docMk/>
          <pc:sldMk cId="2992290307" sldId="664"/>
        </pc:sldMkLst>
        <pc:spChg chg="mod">
          <ac:chgData name="Contursi, Massimo" userId="S::mcontursi@minsait.com::c11fe434-fa63-4734-8d01-c2285712721e" providerId="AD" clId="Web-{9983369F-3BD2-EDE2-AA48-F4E63D43C88A}" dt="2021-06-28T15:08:35.351" v="1178" actId="20577"/>
          <ac:spMkLst>
            <pc:docMk/>
            <pc:sldMk cId="2992290307" sldId="664"/>
            <ac:spMk id="6" creationId="{00000000-0000-0000-0000-000000000000}"/>
          </ac:spMkLst>
        </pc:spChg>
      </pc:sldChg>
      <pc:sldChg chg="modSp">
        <pc:chgData name="Contursi, Massimo" userId="S::mcontursi@minsait.com::c11fe434-fa63-4734-8d01-c2285712721e" providerId="AD" clId="Web-{9983369F-3BD2-EDE2-AA48-F4E63D43C88A}" dt="2021-06-28T15:08:53.851" v="1186" actId="20577"/>
        <pc:sldMkLst>
          <pc:docMk/>
          <pc:sldMk cId="2854038663" sldId="665"/>
        </pc:sldMkLst>
        <pc:spChg chg="mod">
          <ac:chgData name="Contursi, Massimo" userId="S::mcontursi@minsait.com::c11fe434-fa63-4734-8d01-c2285712721e" providerId="AD" clId="Web-{9983369F-3BD2-EDE2-AA48-F4E63D43C88A}" dt="2021-06-28T15:08:53.851" v="1186" actId="20577"/>
          <ac:spMkLst>
            <pc:docMk/>
            <pc:sldMk cId="2854038663" sldId="665"/>
            <ac:spMk id="6" creationId="{00000000-0000-0000-0000-000000000000}"/>
          </ac:spMkLst>
        </pc:spChg>
      </pc:sldChg>
      <pc:sldChg chg="modSp">
        <pc:chgData name="Contursi, Massimo" userId="S::mcontursi@minsait.com::c11fe434-fa63-4734-8d01-c2285712721e" providerId="AD" clId="Web-{9983369F-3BD2-EDE2-AA48-F4E63D43C88A}" dt="2021-06-28T15:08:42.898" v="1181" actId="20577"/>
        <pc:sldMkLst>
          <pc:docMk/>
          <pc:sldMk cId="1001461843" sldId="666"/>
        </pc:sldMkLst>
        <pc:spChg chg="mod">
          <ac:chgData name="Contursi, Massimo" userId="S::mcontursi@minsait.com::c11fe434-fa63-4734-8d01-c2285712721e" providerId="AD" clId="Web-{9983369F-3BD2-EDE2-AA48-F4E63D43C88A}" dt="2021-06-28T15:08:42.898" v="1181" actId="20577"/>
          <ac:spMkLst>
            <pc:docMk/>
            <pc:sldMk cId="1001461843" sldId="666"/>
            <ac:spMk id="6" creationId="{00000000-0000-0000-0000-000000000000}"/>
          </ac:spMkLst>
        </pc:spChg>
      </pc:sldChg>
      <pc:sldChg chg="modSp">
        <pc:chgData name="Contursi, Massimo" userId="S::mcontursi@minsait.com::c11fe434-fa63-4734-8d01-c2285712721e" providerId="AD" clId="Web-{9983369F-3BD2-EDE2-AA48-F4E63D43C88A}" dt="2021-06-28T15:08:42.835" v="1180" actId="20577"/>
        <pc:sldMkLst>
          <pc:docMk/>
          <pc:sldMk cId="1512563020" sldId="667"/>
        </pc:sldMkLst>
        <pc:spChg chg="mod">
          <ac:chgData name="Contursi, Massimo" userId="S::mcontursi@minsait.com::c11fe434-fa63-4734-8d01-c2285712721e" providerId="AD" clId="Web-{9983369F-3BD2-EDE2-AA48-F4E63D43C88A}" dt="2021-06-28T15:08:42.835" v="1180" actId="20577"/>
          <ac:spMkLst>
            <pc:docMk/>
            <pc:sldMk cId="1512563020" sldId="667"/>
            <ac:spMk id="6" creationId="{00000000-0000-0000-0000-000000000000}"/>
          </ac:spMkLst>
        </pc:spChg>
      </pc:sldChg>
      <pc:sldChg chg="modSp">
        <pc:chgData name="Contursi, Massimo" userId="S::mcontursi@minsait.com::c11fe434-fa63-4734-8d01-c2285712721e" providerId="AD" clId="Web-{9983369F-3BD2-EDE2-AA48-F4E63D43C88A}" dt="2021-06-28T15:08:53.554" v="1183" actId="20577"/>
        <pc:sldMkLst>
          <pc:docMk/>
          <pc:sldMk cId="3746285483" sldId="668"/>
        </pc:sldMkLst>
        <pc:spChg chg="mod">
          <ac:chgData name="Contursi, Massimo" userId="S::mcontursi@minsait.com::c11fe434-fa63-4734-8d01-c2285712721e" providerId="AD" clId="Web-{9983369F-3BD2-EDE2-AA48-F4E63D43C88A}" dt="2021-06-28T15:08:53.554" v="1183" actId="20577"/>
          <ac:spMkLst>
            <pc:docMk/>
            <pc:sldMk cId="3746285483" sldId="668"/>
            <ac:spMk id="6" creationId="{00000000-0000-0000-0000-000000000000}"/>
          </ac:spMkLst>
        </pc:spChg>
      </pc:sldChg>
      <pc:sldChg chg="modSp">
        <pc:chgData name="Contursi, Massimo" userId="S::mcontursi@minsait.com::c11fe434-fa63-4734-8d01-c2285712721e" providerId="AD" clId="Web-{9983369F-3BD2-EDE2-AA48-F4E63D43C88A}" dt="2021-06-28T15:08:53.757" v="1185" actId="20577"/>
        <pc:sldMkLst>
          <pc:docMk/>
          <pc:sldMk cId="2978605037" sldId="669"/>
        </pc:sldMkLst>
        <pc:spChg chg="mod">
          <ac:chgData name="Contursi, Massimo" userId="S::mcontursi@minsait.com::c11fe434-fa63-4734-8d01-c2285712721e" providerId="AD" clId="Web-{9983369F-3BD2-EDE2-AA48-F4E63D43C88A}" dt="2021-06-28T15:08:53.757" v="1185" actId="20577"/>
          <ac:spMkLst>
            <pc:docMk/>
            <pc:sldMk cId="2978605037" sldId="669"/>
            <ac:spMk id="6" creationId="{00000000-0000-0000-0000-000000000000}"/>
          </ac:spMkLst>
        </pc:spChg>
      </pc:sldChg>
      <pc:sldChg chg="modSp">
        <pc:chgData name="Contursi, Massimo" userId="S::mcontursi@minsait.com::c11fe434-fa63-4734-8d01-c2285712721e" providerId="AD" clId="Web-{9983369F-3BD2-EDE2-AA48-F4E63D43C88A}" dt="2021-06-28T15:09:05.789" v="1190" actId="20577"/>
        <pc:sldMkLst>
          <pc:docMk/>
          <pc:sldMk cId="2081665533" sldId="670"/>
        </pc:sldMkLst>
        <pc:spChg chg="mod">
          <ac:chgData name="Contursi, Massimo" userId="S::mcontursi@minsait.com::c11fe434-fa63-4734-8d01-c2285712721e" providerId="AD" clId="Web-{9983369F-3BD2-EDE2-AA48-F4E63D43C88A}" dt="2021-06-28T15:09:05.789" v="1190" actId="20577"/>
          <ac:spMkLst>
            <pc:docMk/>
            <pc:sldMk cId="2081665533" sldId="670"/>
            <ac:spMk id="6" creationId="{00000000-0000-0000-0000-000000000000}"/>
          </ac:spMkLst>
        </pc:spChg>
      </pc:sldChg>
      <pc:sldChg chg="modSp">
        <pc:chgData name="Contursi, Massimo" userId="S::mcontursi@minsait.com::c11fe434-fa63-4734-8d01-c2285712721e" providerId="AD" clId="Web-{9983369F-3BD2-EDE2-AA48-F4E63D43C88A}" dt="2021-06-28T15:09:12.461" v="1191" actId="20577"/>
        <pc:sldMkLst>
          <pc:docMk/>
          <pc:sldMk cId="498877206" sldId="671"/>
        </pc:sldMkLst>
        <pc:spChg chg="mod">
          <ac:chgData name="Contursi, Massimo" userId="S::mcontursi@minsait.com::c11fe434-fa63-4734-8d01-c2285712721e" providerId="AD" clId="Web-{9983369F-3BD2-EDE2-AA48-F4E63D43C88A}" dt="2021-06-28T15:09:12.461" v="1191" actId="20577"/>
          <ac:spMkLst>
            <pc:docMk/>
            <pc:sldMk cId="498877206" sldId="671"/>
            <ac:spMk id="6" creationId="{00000000-0000-0000-0000-000000000000}"/>
          </ac:spMkLst>
        </pc:spChg>
      </pc:sldChg>
      <pc:sldChg chg="modSp">
        <pc:chgData name="Contursi, Massimo" userId="S::mcontursi@minsait.com::c11fe434-fa63-4734-8d01-c2285712721e" providerId="AD" clId="Web-{9983369F-3BD2-EDE2-AA48-F4E63D43C88A}" dt="2021-06-28T15:09:16.039" v="1192" actId="20577"/>
        <pc:sldMkLst>
          <pc:docMk/>
          <pc:sldMk cId="1095133272" sldId="672"/>
        </pc:sldMkLst>
        <pc:spChg chg="mod">
          <ac:chgData name="Contursi, Massimo" userId="S::mcontursi@minsait.com::c11fe434-fa63-4734-8d01-c2285712721e" providerId="AD" clId="Web-{9983369F-3BD2-EDE2-AA48-F4E63D43C88A}" dt="2021-06-28T15:09:16.039" v="1192" actId="20577"/>
          <ac:spMkLst>
            <pc:docMk/>
            <pc:sldMk cId="1095133272" sldId="672"/>
            <ac:spMk id="6" creationId="{00000000-0000-0000-0000-000000000000}"/>
          </ac:spMkLst>
        </pc:spChg>
      </pc:sldChg>
      <pc:sldChg chg="modSp">
        <pc:chgData name="Contursi, Massimo" userId="S::mcontursi@minsait.com::c11fe434-fa63-4734-8d01-c2285712721e" providerId="AD" clId="Web-{9983369F-3BD2-EDE2-AA48-F4E63D43C88A}" dt="2021-06-28T15:09:23.258" v="1194" actId="20577"/>
        <pc:sldMkLst>
          <pc:docMk/>
          <pc:sldMk cId="4002815814" sldId="673"/>
        </pc:sldMkLst>
        <pc:spChg chg="mod">
          <ac:chgData name="Contursi, Massimo" userId="S::mcontursi@minsait.com::c11fe434-fa63-4734-8d01-c2285712721e" providerId="AD" clId="Web-{9983369F-3BD2-EDE2-AA48-F4E63D43C88A}" dt="2021-06-28T15:09:23.258" v="1194" actId="20577"/>
          <ac:spMkLst>
            <pc:docMk/>
            <pc:sldMk cId="4002815814" sldId="673"/>
            <ac:spMk id="6" creationId="{00000000-0000-0000-0000-000000000000}"/>
          </ac:spMkLst>
        </pc:spChg>
      </pc:sldChg>
      <pc:sldChg chg="modSp">
        <pc:chgData name="Contursi, Massimo" userId="S::mcontursi@minsait.com::c11fe434-fa63-4734-8d01-c2285712721e" providerId="AD" clId="Web-{9983369F-3BD2-EDE2-AA48-F4E63D43C88A}" dt="2021-06-28T15:09:33.852" v="1196" actId="20577"/>
        <pc:sldMkLst>
          <pc:docMk/>
          <pc:sldMk cId="26047570" sldId="674"/>
        </pc:sldMkLst>
        <pc:spChg chg="mod">
          <ac:chgData name="Contursi, Massimo" userId="S::mcontursi@minsait.com::c11fe434-fa63-4734-8d01-c2285712721e" providerId="AD" clId="Web-{9983369F-3BD2-EDE2-AA48-F4E63D43C88A}" dt="2021-06-28T15:09:33.852" v="1196" actId="20577"/>
          <ac:spMkLst>
            <pc:docMk/>
            <pc:sldMk cId="26047570" sldId="674"/>
            <ac:spMk id="6" creationId="{00000000-0000-0000-0000-000000000000}"/>
          </ac:spMkLst>
        </pc:spChg>
      </pc:sldChg>
      <pc:sldChg chg="modSp">
        <pc:chgData name="Contursi, Massimo" userId="S::mcontursi@minsait.com::c11fe434-fa63-4734-8d01-c2285712721e" providerId="AD" clId="Web-{9983369F-3BD2-EDE2-AA48-F4E63D43C88A}" dt="2021-06-28T15:09:33.930" v="1197" actId="20577"/>
        <pc:sldMkLst>
          <pc:docMk/>
          <pc:sldMk cId="2689893574" sldId="675"/>
        </pc:sldMkLst>
        <pc:spChg chg="mod">
          <ac:chgData name="Contursi, Massimo" userId="S::mcontursi@minsait.com::c11fe434-fa63-4734-8d01-c2285712721e" providerId="AD" clId="Web-{9983369F-3BD2-EDE2-AA48-F4E63D43C88A}" dt="2021-06-28T15:09:33.930" v="1197" actId="20577"/>
          <ac:spMkLst>
            <pc:docMk/>
            <pc:sldMk cId="2689893574" sldId="675"/>
            <ac:spMk id="6" creationId="{00000000-0000-0000-0000-000000000000}"/>
          </ac:spMkLst>
        </pc:spChg>
      </pc:sldChg>
      <pc:sldChg chg="modSp">
        <pc:chgData name="Contursi, Massimo" userId="S::mcontursi@minsait.com::c11fe434-fa63-4734-8d01-c2285712721e" providerId="AD" clId="Web-{9983369F-3BD2-EDE2-AA48-F4E63D43C88A}" dt="2021-06-28T15:09:43.461" v="1199" actId="20577"/>
        <pc:sldMkLst>
          <pc:docMk/>
          <pc:sldMk cId="282654030" sldId="676"/>
        </pc:sldMkLst>
        <pc:spChg chg="mod">
          <ac:chgData name="Contursi, Massimo" userId="S::mcontursi@minsait.com::c11fe434-fa63-4734-8d01-c2285712721e" providerId="AD" clId="Web-{9983369F-3BD2-EDE2-AA48-F4E63D43C88A}" dt="2021-06-28T15:09:43.461" v="1199" actId="20577"/>
          <ac:spMkLst>
            <pc:docMk/>
            <pc:sldMk cId="282654030" sldId="676"/>
            <ac:spMk id="6" creationId="{00000000-0000-0000-0000-000000000000}"/>
          </ac:spMkLst>
        </pc:spChg>
      </pc:sldChg>
      <pc:sldChg chg="modSp">
        <pc:chgData name="Contursi, Massimo" userId="S::mcontursi@minsait.com::c11fe434-fa63-4734-8d01-c2285712721e" providerId="AD" clId="Web-{9983369F-3BD2-EDE2-AA48-F4E63D43C88A}" dt="2021-06-28T15:09:54.852" v="1204" actId="20577"/>
        <pc:sldMkLst>
          <pc:docMk/>
          <pc:sldMk cId="2894545093" sldId="677"/>
        </pc:sldMkLst>
        <pc:spChg chg="mod">
          <ac:chgData name="Contursi, Massimo" userId="S::mcontursi@minsait.com::c11fe434-fa63-4734-8d01-c2285712721e" providerId="AD" clId="Web-{9983369F-3BD2-EDE2-AA48-F4E63D43C88A}" dt="2021-06-28T15:09:54.852" v="1204" actId="20577"/>
          <ac:spMkLst>
            <pc:docMk/>
            <pc:sldMk cId="2894545093" sldId="677"/>
            <ac:spMk id="6" creationId="{00000000-0000-0000-0000-000000000000}"/>
          </ac:spMkLst>
        </pc:spChg>
      </pc:sldChg>
      <pc:sldChg chg="modSp">
        <pc:chgData name="Contursi, Massimo" userId="S::mcontursi@minsait.com::c11fe434-fa63-4734-8d01-c2285712721e" providerId="AD" clId="Web-{9983369F-3BD2-EDE2-AA48-F4E63D43C88A}" dt="2021-06-28T15:09:43.571" v="1201" actId="20577"/>
        <pc:sldMkLst>
          <pc:docMk/>
          <pc:sldMk cId="1246181257" sldId="679"/>
        </pc:sldMkLst>
        <pc:spChg chg="mod">
          <ac:chgData name="Contursi, Massimo" userId="S::mcontursi@minsait.com::c11fe434-fa63-4734-8d01-c2285712721e" providerId="AD" clId="Web-{9983369F-3BD2-EDE2-AA48-F4E63D43C88A}" dt="2021-06-28T15:09:43.571" v="1201" actId="20577"/>
          <ac:spMkLst>
            <pc:docMk/>
            <pc:sldMk cId="1246181257" sldId="679"/>
            <ac:spMk id="6" creationId="{00000000-0000-0000-0000-000000000000}"/>
          </ac:spMkLst>
        </pc:spChg>
      </pc:sldChg>
      <pc:sldChg chg="modSp">
        <pc:chgData name="Contursi, Massimo" userId="S::mcontursi@minsait.com::c11fe434-fa63-4734-8d01-c2285712721e" providerId="AD" clId="Web-{9983369F-3BD2-EDE2-AA48-F4E63D43C88A}" dt="2021-06-28T15:09:45.087" v="1202" actId="20577"/>
        <pc:sldMkLst>
          <pc:docMk/>
          <pc:sldMk cId="466694922" sldId="680"/>
        </pc:sldMkLst>
        <pc:spChg chg="mod">
          <ac:chgData name="Contursi, Massimo" userId="S::mcontursi@minsait.com::c11fe434-fa63-4734-8d01-c2285712721e" providerId="AD" clId="Web-{9983369F-3BD2-EDE2-AA48-F4E63D43C88A}" dt="2021-06-28T15:09:45.087" v="1202" actId="20577"/>
          <ac:spMkLst>
            <pc:docMk/>
            <pc:sldMk cId="466694922" sldId="680"/>
            <ac:spMk id="6" creationId="{00000000-0000-0000-0000-000000000000}"/>
          </ac:spMkLst>
        </pc:spChg>
      </pc:sldChg>
      <pc:sldChg chg="modSp">
        <pc:chgData name="Contursi, Massimo" userId="S::mcontursi@minsait.com::c11fe434-fa63-4734-8d01-c2285712721e" providerId="AD" clId="Web-{9983369F-3BD2-EDE2-AA48-F4E63D43C88A}" dt="2021-06-28T08:08:57.432" v="1" actId="20577"/>
        <pc:sldMkLst>
          <pc:docMk/>
          <pc:sldMk cId="1954758856" sldId="702"/>
        </pc:sldMkLst>
        <pc:spChg chg="mod">
          <ac:chgData name="Contursi, Massimo" userId="S::mcontursi@minsait.com::c11fe434-fa63-4734-8d01-c2285712721e" providerId="AD" clId="Web-{9983369F-3BD2-EDE2-AA48-F4E63D43C88A}" dt="2021-06-28T08:08:57.432" v="1" actId="20577"/>
          <ac:spMkLst>
            <pc:docMk/>
            <pc:sldMk cId="1954758856" sldId="702"/>
            <ac:spMk id="4" creationId="{00000000-0000-0000-0000-000000000000}"/>
          </ac:spMkLst>
        </pc:spChg>
      </pc:sldChg>
      <pc:sldChg chg="addSp delSp modSp add replId">
        <pc:chgData name="Contursi, Massimo" userId="S::mcontursi@minsait.com::c11fe434-fa63-4734-8d01-c2285712721e" providerId="AD" clId="Web-{9983369F-3BD2-EDE2-AA48-F4E63D43C88A}" dt="2021-06-28T15:10:35.197" v="1212" actId="20577"/>
        <pc:sldMkLst>
          <pc:docMk/>
          <pc:sldMk cId="3955198927" sldId="703"/>
        </pc:sldMkLst>
        <pc:spChg chg="add mod">
          <ac:chgData name="Contursi, Massimo" userId="S::mcontursi@minsait.com::c11fe434-fa63-4734-8d01-c2285712721e" providerId="AD" clId="Web-{9983369F-3BD2-EDE2-AA48-F4E63D43C88A}" dt="2021-06-28T08:23:42.921" v="111" actId="14100"/>
          <ac:spMkLst>
            <pc:docMk/>
            <pc:sldMk cId="3955198927" sldId="703"/>
            <ac:spMk id="4" creationId="{A1FB427F-F7B1-4E42-A828-622138480189}"/>
          </ac:spMkLst>
        </pc:spChg>
        <pc:spChg chg="mod">
          <ac:chgData name="Contursi, Massimo" userId="S::mcontursi@minsait.com::c11fe434-fa63-4734-8d01-c2285712721e" providerId="AD" clId="Web-{9983369F-3BD2-EDE2-AA48-F4E63D43C88A}" dt="2021-06-28T08:20:46.526" v="57" actId="20577"/>
          <ac:spMkLst>
            <pc:docMk/>
            <pc:sldMk cId="3955198927" sldId="703"/>
            <ac:spMk id="5" creationId="{8FFCB682-A2FC-CA4B-AF1F-9B44DC3872A4}"/>
          </ac:spMkLst>
        </pc:spChg>
        <pc:spChg chg="mod">
          <ac:chgData name="Contursi, Massimo" userId="S::mcontursi@minsait.com::c11fe434-fa63-4734-8d01-c2285712721e" providerId="AD" clId="Web-{9983369F-3BD2-EDE2-AA48-F4E63D43C88A}" dt="2021-06-28T15:10:35.197" v="1212" actId="20577"/>
          <ac:spMkLst>
            <pc:docMk/>
            <pc:sldMk cId="3955198927" sldId="703"/>
            <ac:spMk id="6" creationId="{00000000-0000-0000-0000-000000000000}"/>
          </ac:spMkLst>
        </pc:spChg>
        <pc:spChg chg="add del mod">
          <ac:chgData name="Contursi, Massimo" userId="S::mcontursi@minsait.com::c11fe434-fa63-4734-8d01-c2285712721e" providerId="AD" clId="Web-{9983369F-3BD2-EDE2-AA48-F4E63D43C88A}" dt="2021-06-28T08:21:25.730" v="63"/>
          <ac:spMkLst>
            <pc:docMk/>
            <pc:sldMk cId="3955198927" sldId="703"/>
            <ac:spMk id="8" creationId="{064DAF8E-2778-4546-A224-A3CA87798720}"/>
          </ac:spMkLst>
        </pc:spChg>
        <pc:spChg chg="mod">
          <ac:chgData name="Contursi, Massimo" userId="S::mcontursi@minsait.com::c11fe434-fa63-4734-8d01-c2285712721e" providerId="AD" clId="Web-{9983369F-3BD2-EDE2-AA48-F4E63D43C88A}" dt="2021-06-28T08:20:46.307" v="55" actId="20577"/>
          <ac:spMkLst>
            <pc:docMk/>
            <pc:sldMk cId="3955198927" sldId="703"/>
            <ac:spMk id="9" creationId="{92C4D6DD-881B-984A-9C92-27BA5BC27568}"/>
          </ac:spMkLst>
        </pc:spChg>
        <pc:spChg chg="add del mod">
          <ac:chgData name="Contursi, Massimo" userId="S::mcontursi@minsait.com::c11fe434-fa63-4734-8d01-c2285712721e" providerId="AD" clId="Web-{9983369F-3BD2-EDE2-AA48-F4E63D43C88A}" dt="2021-06-28T08:21:27.214" v="64"/>
          <ac:spMkLst>
            <pc:docMk/>
            <pc:sldMk cId="3955198927" sldId="703"/>
            <ac:spMk id="10" creationId="{96069DE0-5B51-4E05-B218-B6528EED0818}"/>
          </ac:spMkLst>
        </pc:spChg>
      </pc:sldChg>
      <pc:sldChg chg="modSp add replId">
        <pc:chgData name="Contursi, Massimo" userId="S::mcontursi@minsait.com::c11fe434-fa63-4734-8d01-c2285712721e" providerId="AD" clId="Web-{9983369F-3BD2-EDE2-AA48-F4E63D43C88A}" dt="2021-06-28T15:10:41.603" v="1214" actId="20577"/>
        <pc:sldMkLst>
          <pc:docMk/>
          <pc:sldMk cId="1877027824" sldId="704"/>
        </pc:sldMkLst>
        <pc:spChg chg="mod">
          <ac:chgData name="Contursi, Massimo" userId="S::mcontursi@minsait.com::c11fe434-fa63-4734-8d01-c2285712721e" providerId="AD" clId="Web-{9983369F-3BD2-EDE2-AA48-F4E63D43C88A}" dt="2021-06-28T08:25:45.408" v="124" actId="20577"/>
          <ac:spMkLst>
            <pc:docMk/>
            <pc:sldMk cId="1877027824" sldId="704"/>
            <ac:spMk id="4" creationId="{A1FB427F-F7B1-4E42-A828-622138480189}"/>
          </ac:spMkLst>
        </pc:spChg>
        <pc:spChg chg="mod">
          <ac:chgData name="Contursi, Massimo" userId="S::mcontursi@minsait.com::c11fe434-fa63-4734-8d01-c2285712721e" providerId="AD" clId="Web-{9983369F-3BD2-EDE2-AA48-F4E63D43C88A}" dt="2021-06-28T15:10:41.603" v="1214" actId="20577"/>
          <ac:spMkLst>
            <pc:docMk/>
            <pc:sldMk cId="1877027824" sldId="704"/>
            <ac:spMk id="6" creationId="{00000000-0000-0000-0000-000000000000}"/>
          </ac:spMkLst>
        </pc:spChg>
        <pc:spChg chg="mod">
          <ac:chgData name="Contursi, Massimo" userId="S::mcontursi@minsait.com::c11fe434-fa63-4734-8d01-c2285712721e" providerId="AD" clId="Web-{9983369F-3BD2-EDE2-AA48-F4E63D43C88A}" dt="2021-06-28T08:25:36.111" v="123" actId="20577"/>
          <ac:spMkLst>
            <pc:docMk/>
            <pc:sldMk cId="1877027824" sldId="704"/>
            <ac:spMk id="9" creationId="{92C4D6DD-881B-984A-9C92-27BA5BC27568}"/>
          </ac:spMkLst>
        </pc:spChg>
      </pc:sldChg>
      <pc:sldChg chg="addSp modSp add replId">
        <pc:chgData name="Contursi, Massimo" userId="S::mcontursi@minsait.com::c11fe434-fa63-4734-8d01-c2285712721e" providerId="AD" clId="Web-{9983369F-3BD2-EDE2-AA48-F4E63D43C88A}" dt="2021-06-28T15:10:51.635" v="1216" actId="20577"/>
        <pc:sldMkLst>
          <pc:docMk/>
          <pc:sldMk cId="990783215" sldId="705"/>
        </pc:sldMkLst>
        <pc:spChg chg="mod">
          <ac:chgData name="Contursi, Massimo" userId="S::mcontursi@minsait.com::c11fe434-fa63-4734-8d01-c2285712721e" providerId="AD" clId="Web-{9983369F-3BD2-EDE2-AA48-F4E63D43C88A}" dt="2021-06-28T08:29:11.116" v="167" actId="20577"/>
          <ac:spMkLst>
            <pc:docMk/>
            <pc:sldMk cId="990783215" sldId="705"/>
            <ac:spMk id="4" creationId="{A1FB427F-F7B1-4E42-A828-622138480189}"/>
          </ac:spMkLst>
        </pc:spChg>
        <pc:spChg chg="mod">
          <ac:chgData name="Contursi, Massimo" userId="S::mcontursi@minsait.com::c11fe434-fa63-4734-8d01-c2285712721e" providerId="AD" clId="Web-{9983369F-3BD2-EDE2-AA48-F4E63D43C88A}" dt="2021-06-28T15:10:51.635" v="1216" actId="20577"/>
          <ac:spMkLst>
            <pc:docMk/>
            <pc:sldMk cId="990783215" sldId="705"/>
            <ac:spMk id="6" creationId="{00000000-0000-0000-0000-000000000000}"/>
          </ac:spMkLst>
        </pc:spChg>
        <pc:spChg chg="mod">
          <ac:chgData name="Contursi, Massimo" userId="S::mcontursi@minsait.com::c11fe434-fa63-4734-8d01-c2285712721e" providerId="AD" clId="Web-{9983369F-3BD2-EDE2-AA48-F4E63D43C88A}" dt="2021-06-28T08:28:16.427" v="140" actId="20577"/>
          <ac:spMkLst>
            <pc:docMk/>
            <pc:sldMk cId="990783215" sldId="705"/>
            <ac:spMk id="9" creationId="{92C4D6DD-881B-984A-9C92-27BA5BC27568}"/>
          </ac:spMkLst>
        </pc:spChg>
        <pc:picChg chg="add mod">
          <ac:chgData name="Contursi, Massimo" userId="S::mcontursi@minsait.com::c11fe434-fa63-4734-8d01-c2285712721e" providerId="AD" clId="Web-{9983369F-3BD2-EDE2-AA48-F4E63D43C88A}" dt="2021-06-28T08:28:52.959" v="163" actId="1076"/>
          <ac:picMkLst>
            <pc:docMk/>
            <pc:sldMk cId="990783215" sldId="705"/>
            <ac:picMk id="8" creationId="{AC8EC6A2-305C-4706-B8A4-ABE97A8B8633}"/>
          </ac:picMkLst>
        </pc:picChg>
        <pc:picChg chg="add mod">
          <ac:chgData name="Contursi, Massimo" userId="S::mcontursi@minsait.com::c11fe434-fa63-4734-8d01-c2285712721e" providerId="AD" clId="Web-{9983369F-3BD2-EDE2-AA48-F4E63D43C88A}" dt="2021-06-28T08:29:11.272" v="168" actId="1076"/>
          <ac:picMkLst>
            <pc:docMk/>
            <pc:sldMk cId="990783215" sldId="705"/>
            <ac:picMk id="10" creationId="{1BBE08AD-822C-4864-99EC-8F8719234042}"/>
          </ac:picMkLst>
        </pc:picChg>
      </pc:sldChg>
      <pc:sldChg chg="addSp delSp modSp add replId">
        <pc:chgData name="Contursi, Massimo" userId="S::mcontursi@minsait.com::c11fe434-fa63-4734-8d01-c2285712721e" providerId="AD" clId="Web-{9983369F-3BD2-EDE2-AA48-F4E63D43C88A}" dt="2021-06-28T15:10:51.948" v="1218" actId="20577"/>
        <pc:sldMkLst>
          <pc:docMk/>
          <pc:sldMk cId="3204962198" sldId="706"/>
        </pc:sldMkLst>
        <pc:spChg chg="mod">
          <ac:chgData name="Contursi, Massimo" userId="S::mcontursi@minsait.com::c11fe434-fa63-4734-8d01-c2285712721e" providerId="AD" clId="Web-{9983369F-3BD2-EDE2-AA48-F4E63D43C88A}" dt="2021-06-28T08:30:11.695" v="185" actId="20577"/>
          <ac:spMkLst>
            <pc:docMk/>
            <pc:sldMk cId="3204962198" sldId="706"/>
            <ac:spMk id="4" creationId="{A1FB427F-F7B1-4E42-A828-622138480189}"/>
          </ac:spMkLst>
        </pc:spChg>
        <pc:spChg chg="mod">
          <ac:chgData name="Contursi, Massimo" userId="S::mcontursi@minsait.com::c11fe434-fa63-4734-8d01-c2285712721e" providerId="AD" clId="Web-{9983369F-3BD2-EDE2-AA48-F4E63D43C88A}" dt="2021-06-28T15:10:51.948" v="1218" actId="20577"/>
          <ac:spMkLst>
            <pc:docMk/>
            <pc:sldMk cId="3204962198" sldId="706"/>
            <ac:spMk id="6" creationId="{00000000-0000-0000-0000-000000000000}"/>
          </ac:spMkLst>
        </pc:spChg>
        <pc:spChg chg="mod">
          <ac:chgData name="Contursi, Massimo" userId="S::mcontursi@minsait.com::c11fe434-fa63-4734-8d01-c2285712721e" providerId="AD" clId="Web-{9983369F-3BD2-EDE2-AA48-F4E63D43C88A}" dt="2021-06-28T08:30:09.070" v="183" actId="20577"/>
          <ac:spMkLst>
            <pc:docMk/>
            <pc:sldMk cId="3204962198" sldId="706"/>
            <ac:spMk id="9" creationId="{92C4D6DD-881B-984A-9C92-27BA5BC27568}"/>
          </ac:spMkLst>
        </pc:spChg>
        <pc:picChg chg="add del mod">
          <ac:chgData name="Contursi, Massimo" userId="S::mcontursi@minsait.com::c11fe434-fa63-4734-8d01-c2285712721e" providerId="AD" clId="Web-{9983369F-3BD2-EDE2-AA48-F4E63D43C88A}" dt="2021-06-28T08:30:54.759" v="191"/>
          <ac:picMkLst>
            <pc:docMk/>
            <pc:sldMk cId="3204962198" sldId="706"/>
            <ac:picMk id="8" creationId="{95863222-3AE5-486A-A540-666B9CF5D2C9}"/>
          </ac:picMkLst>
        </pc:picChg>
        <pc:picChg chg="add mod">
          <ac:chgData name="Contursi, Massimo" userId="S::mcontursi@minsait.com::c11fe434-fa63-4734-8d01-c2285712721e" providerId="AD" clId="Web-{9983369F-3BD2-EDE2-AA48-F4E63D43C88A}" dt="2021-06-28T08:31:30.353" v="195" actId="14100"/>
          <ac:picMkLst>
            <pc:docMk/>
            <pc:sldMk cId="3204962198" sldId="706"/>
            <ac:picMk id="10" creationId="{19C1E8DC-681B-49B5-8289-3F49EC5C89A4}"/>
          </ac:picMkLst>
        </pc:picChg>
      </pc:sldChg>
      <pc:sldChg chg="addSp delSp modSp add replId">
        <pc:chgData name="Contursi, Massimo" userId="S::mcontursi@minsait.com::c11fe434-fa63-4734-8d01-c2285712721e" providerId="AD" clId="Web-{9983369F-3BD2-EDE2-AA48-F4E63D43C88A}" dt="2021-06-28T15:11:05.291" v="1220" actId="20577"/>
        <pc:sldMkLst>
          <pc:docMk/>
          <pc:sldMk cId="1949131741" sldId="707"/>
        </pc:sldMkLst>
        <pc:spChg chg="mod">
          <ac:chgData name="Contursi, Massimo" userId="S::mcontursi@minsait.com::c11fe434-fa63-4734-8d01-c2285712721e" providerId="AD" clId="Web-{9983369F-3BD2-EDE2-AA48-F4E63D43C88A}" dt="2021-06-28T15:11:05.291" v="1220" actId="20577"/>
          <ac:spMkLst>
            <pc:docMk/>
            <pc:sldMk cId="1949131741" sldId="707"/>
            <ac:spMk id="6" creationId="{00000000-0000-0000-0000-000000000000}"/>
          </ac:spMkLst>
        </pc:spChg>
        <pc:spChg chg="mod">
          <ac:chgData name="Contursi, Massimo" userId="S::mcontursi@minsait.com::c11fe434-fa63-4734-8d01-c2285712721e" providerId="AD" clId="Web-{9983369F-3BD2-EDE2-AA48-F4E63D43C88A}" dt="2021-06-28T08:32:03.682" v="209" actId="20577"/>
          <ac:spMkLst>
            <pc:docMk/>
            <pc:sldMk cId="1949131741" sldId="707"/>
            <ac:spMk id="9" creationId="{92C4D6DD-881B-984A-9C92-27BA5BC27568}"/>
          </ac:spMkLst>
        </pc:spChg>
        <pc:picChg chg="add mod">
          <ac:chgData name="Contursi, Massimo" userId="S::mcontursi@minsait.com::c11fe434-fa63-4734-8d01-c2285712721e" providerId="AD" clId="Web-{9983369F-3BD2-EDE2-AA48-F4E63D43C88A}" dt="2021-06-28T08:32:18.901" v="214" actId="1076"/>
          <ac:picMkLst>
            <pc:docMk/>
            <pc:sldMk cId="1949131741" sldId="707"/>
            <ac:picMk id="8" creationId="{BE19A71A-3468-467C-9BFD-EBD012042392}"/>
          </ac:picMkLst>
        </pc:picChg>
        <pc:picChg chg="del">
          <ac:chgData name="Contursi, Massimo" userId="S::mcontursi@minsait.com::c11fe434-fa63-4734-8d01-c2285712721e" providerId="AD" clId="Web-{9983369F-3BD2-EDE2-AA48-F4E63D43C88A}" dt="2021-06-28T08:32:03.792" v="210"/>
          <ac:picMkLst>
            <pc:docMk/>
            <pc:sldMk cId="1949131741" sldId="707"/>
            <ac:picMk id="10" creationId="{19C1E8DC-681B-49B5-8289-3F49EC5C89A4}"/>
          </ac:picMkLst>
        </pc:picChg>
      </pc:sldChg>
      <pc:sldChg chg="addSp delSp modSp add replId">
        <pc:chgData name="Contursi, Massimo" userId="S::mcontursi@minsait.com::c11fe434-fa63-4734-8d01-c2285712721e" providerId="AD" clId="Web-{9983369F-3BD2-EDE2-AA48-F4E63D43C88A}" dt="2021-06-28T15:11:05.354" v="1221" actId="20577"/>
        <pc:sldMkLst>
          <pc:docMk/>
          <pc:sldMk cId="567171798" sldId="708"/>
        </pc:sldMkLst>
        <pc:spChg chg="mod">
          <ac:chgData name="Contursi, Massimo" userId="S::mcontursi@minsait.com::c11fe434-fa63-4734-8d01-c2285712721e" providerId="AD" clId="Web-{9983369F-3BD2-EDE2-AA48-F4E63D43C88A}" dt="2021-06-28T15:11:05.354" v="1221" actId="20577"/>
          <ac:spMkLst>
            <pc:docMk/>
            <pc:sldMk cId="567171798" sldId="708"/>
            <ac:spMk id="6" creationId="{00000000-0000-0000-0000-000000000000}"/>
          </ac:spMkLst>
        </pc:spChg>
        <pc:spChg chg="mod">
          <ac:chgData name="Contursi, Massimo" userId="S::mcontursi@minsait.com::c11fe434-fa63-4734-8d01-c2285712721e" providerId="AD" clId="Web-{9983369F-3BD2-EDE2-AA48-F4E63D43C88A}" dt="2021-06-28T08:32:39.433" v="224" actId="20577"/>
          <ac:spMkLst>
            <pc:docMk/>
            <pc:sldMk cId="567171798" sldId="708"/>
            <ac:spMk id="9" creationId="{92C4D6DD-881B-984A-9C92-27BA5BC27568}"/>
          </ac:spMkLst>
        </pc:spChg>
        <pc:picChg chg="del">
          <ac:chgData name="Contursi, Massimo" userId="S::mcontursi@minsait.com::c11fe434-fa63-4734-8d01-c2285712721e" providerId="AD" clId="Web-{9983369F-3BD2-EDE2-AA48-F4E63D43C88A}" dt="2021-06-28T08:32:40.136" v="225"/>
          <ac:picMkLst>
            <pc:docMk/>
            <pc:sldMk cId="567171798" sldId="708"/>
            <ac:picMk id="8" creationId="{BE19A71A-3468-467C-9BFD-EBD012042392}"/>
          </ac:picMkLst>
        </pc:picChg>
        <pc:picChg chg="add mod">
          <ac:chgData name="Contursi, Massimo" userId="S::mcontursi@minsait.com::c11fe434-fa63-4734-8d01-c2285712721e" providerId="AD" clId="Web-{9983369F-3BD2-EDE2-AA48-F4E63D43C88A}" dt="2021-06-28T08:33:12.047" v="230" actId="14100"/>
          <ac:picMkLst>
            <pc:docMk/>
            <pc:sldMk cId="567171798" sldId="708"/>
            <ac:picMk id="10" creationId="{F1EA908D-FABC-4B21-A48B-70A9AC121CC5}"/>
          </ac:picMkLst>
        </pc:picChg>
      </pc:sldChg>
      <pc:sldChg chg="addSp delSp modSp add replId">
        <pc:chgData name="Contursi, Massimo" userId="S::mcontursi@minsait.com::c11fe434-fa63-4734-8d01-c2285712721e" providerId="AD" clId="Web-{9983369F-3BD2-EDE2-AA48-F4E63D43C88A}" dt="2021-06-28T15:11:13.198" v="1223" actId="20577"/>
        <pc:sldMkLst>
          <pc:docMk/>
          <pc:sldMk cId="2520501113" sldId="709"/>
        </pc:sldMkLst>
        <pc:spChg chg="mod">
          <ac:chgData name="Contursi, Massimo" userId="S::mcontursi@minsait.com::c11fe434-fa63-4734-8d01-c2285712721e" providerId="AD" clId="Web-{9983369F-3BD2-EDE2-AA48-F4E63D43C88A}" dt="2021-06-28T15:11:13.198" v="1223" actId="20577"/>
          <ac:spMkLst>
            <pc:docMk/>
            <pc:sldMk cId="2520501113" sldId="709"/>
            <ac:spMk id="6" creationId="{00000000-0000-0000-0000-000000000000}"/>
          </ac:spMkLst>
        </pc:spChg>
        <pc:spChg chg="mod">
          <ac:chgData name="Contursi, Massimo" userId="S::mcontursi@minsait.com::c11fe434-fa63-4734-8d01-c2285712721e" providerId="AD" clId="Web-{9983369F-3BD2-EDE2-AA48-F4E63D43C88A}" dt="2021-06-28T08:33:52.060" v="242" actId="20577"/>
          <ac:spMkLst>
            <pc:docMk/>
            <pc:sldMk cId="2520501113" sldId="709"/>
            <ac:spMk id="9" creationId="{92C4D6DD-881B-984A-9C92-27BA5BC27568}"/>
          </ac:spMkLst>
        </pc:spChg>
        <pc:picChg chg="add mod">
          <ac:chgData name="Contursi, Massimo" userId="S::mcontursi@minsait.com::c11fe434-fa63-4734-8d01-c2285712721e" providerId="AD" clId="Web-{9983369F-3BD2-EDE2-AA48-F4E63D43C88A}" dt="2021-06-28T08:34:07.888" v="246" actId="14100"/>
          <ac:picMkLst>
            <pc:docMk/>
            <pc:sldMk cId="2520501113" sldId="709"/>
            <ac:picMk id="8" creationId="{1BE61225-2CE3-46C3-963C-C6686486B517}"/>
          </ac:picMkLst>
        </pc:picChg>
        <pc:picChg chg="del">
          <ac:chgData name="Contursi, Massimo" userId="S::mcontursi@minsait.com::c11fe434-fa63-4734-8d01-c2285712721e" providerId="AD" clId="Web-{9983369F-3BD2-EDE2-AA48-F4E63D43C88A}" dt="2021-06-28T08:33:52.153" v="243"/>
          <ac:picMkLst>
            <pc:docMk/>
            <pc:sldMk cId="2520501113" sldId="709"/>
            <ac:picMk id="10" creationId="{F1EA908D-FABC-4B21-A48B-70A9AC121CC5}"/>
          </ac:picMkLst>
        </pc:picChg>
      </pc:sldChg>
      <pc:sldChg chg="addSp delSp modSp add replId">
        <pc:chgData name="Contursi, Massimo" userId="S::mcontursi@minsait.com::c11fe434-fa63-4734-8d01-c2285712721e" providerId="AD" clId="Web-{9983369F-3BD2-EDE2-AA48-F4E63D43C88A}" dt="2021-06-28T15:11:16.323" v="1224" actId="20577"/>
        <pc:sldMkLst>
          <pc:docMk/>
          <pc:sldMk cId="610626869" sldId="710"/>
        </pc:sldMkLst>
        <pc:spChg chg="mod">
          <ac:chgData name="Contursi, Massimo" userId="S::mcontursi@minsait.com::c11fe434-fa63-4734-8d01-c2285712721e" providerId="AD" clId="Web-{9983369F-3BD2-EDE2-AA48-F4E63D43C88A}" dt="2021-06-28T15:11:16.323" v="1224" actId="20577"/>
          <ac:spMkLst>
            <pc:docMk/>
            <pc:sldMk cId="610626869" sldId="710"/>
            <ac:spMk id="6" creationId="{00000000-0000-0000-0000-000000000000}"/>
          </ac:spMkLst>
        </pc:spChg>
        <pc:spChg chg="mod">
          <ac:chgData name="Contursi, Massimo" userId="S::mcontursi@minsait.com::c11fe434-fa63-4734-8d01-c2285712721e" providerId="AD" clId="Web-{9983369F-3BD2-EDE2-AA48-F4E63D43C88A}" dt="2021-06-28T08:34:55.608" v="268" actId="20577"/>
          <ac:spMkLst>
            <pc:docMk/>
            <pc:sldMk cId="610626869" sldId="710"/>
            <ac:spMk id="9" creationId="{92C4D6DD-881B-984A-9C92-27BA5BC27568}"/>
          </ac:spMkLst>
        </pc:spChg>
        <pc:picChg chg="del">
          <ac:chgData name="Contursi, Massimo" userId="S::mcontursi@minsait.com::c11fe434-fa63-4734-8d01-c2285712721e" providerId="AD" clId="Web-{9983369F-3BD2-EDE2-AA48-F4E63D43C88A}" dt="2021-06-28T08:34:55.764" v="269"/>
          <ac:picMkLst>
            <pc:docMk/>
            <pc:sldMk cId="610626869" sldId="710"/>
            <ac:picMk id="8" creationId="{1BE61225-2CE3-46C3-963C-C6686486B517}"/>
          </ac:picMkLst>
        </pc:picChg>
        <pc:picChg chg="add mod">
          <ac:chgData name="Contursi, Massimo" userId="S::mcontursi@minsait.com::c11fe434-fa63-4734-8d01-c2285712721e" providerId="AD" clId="Web-{9983369F-3BD2-EDE2-AA48-F4E63D43C88A}" dt="2021-06-28T08:35:07.171" v="272" actId="14100"/>
          <ac:picMkLst>
            <pc:docMk/>
            <pc:sldMk cId="610626869" sldId="710"/>
            <ac:picMk id="10" creationId="{7E8873F7-8BB2-43A8-8C87-46572D8F5BBA}"/>
          </ac:picMkLst>
        </pc:picChg>
      </pc:sldChg>
      <pc:sldChg chg="addSp delSp modSp add replId">
        <pc:chgData name="Contursi, Massimo" userId="S::mcontursi@minsait.com::c11fe434-fa63-4734-8d01-c2285712721e" providerId="AD" clId="Web-{9983369F-3BD2-EDE2-AA48-F4E63D43C88A}" dt="2021-06-28T15:11:35.058" v="1229" actId="20577"/>
        <pc:sldMkLst>
          <pc:docMk/>
          <pc:sldMk cId="1111815920" sldId="711"/>
        </pc:sldMkLst>
        <pc:spChg chg="mod">
          <ac:chgData name="Contursi, Massimo" userId="S::mcontursi@minsait.com::c11fe434-fa63-4734-8d01-c2285712721e" providerId="AD" clId="Web-{9983369F-3BD2-EDE2-AA48-F4E63D43C88A}" dt="2021-06-28T15:11:35.058" v="1229" actId="20577"/>
          <ac:spMkLst>
            <pc:docMk/>
            <pc:sldMk cId="1111815920" sldId="711"/>
            <ac:spMk id="6" creationId="{00000000-0000-0000-0000-000000000000}"/>
          </ac:spMkLst>
        </pc:spChg>
        <pc:spChg chg="add mod">
          <ac:chgData name="Contursi, Massimo" userId="S::mcontursi@minsait.com::c11fe434-fa63-4734-8d01-c2285712721e" providerId="AD" clId="Web-{9983369F-3BD2-EDE2-AA48-F4E63D43C88A}" dt="2021-06-28T08:46:12.983" v="459" actId="14100"/>
          <ac:spMkLst>
            <pc:docMk/>
            <pc:sldMk cId="1111815920" sldId="711"/>
            <ac:spMk id="8" creationId="{7894DFE1-AFEB-459A-BD3A-2FDF075AB636}"/>
          </ac:spMkLst>
        </pc:spChg>
        <pc:spChg chg="mod">
          <ac:chgData name="Contursi, Massimo" userId="S::mcontursi@minsait.com::c11fe434-fa63-4734-8d01-c2285712721e" providerId="AD" clId="Web-{9983369F-3BD2-EDE2-AA48-F4E63D43C88A}" dt="2021-06-28T08:41:30.680" v="327" actId="20577"/>
          <ac:spMkLst>
            <pc:docMk/>
            <pc:sldMk cId="1111815920" sldId="711"/>
            <ac:spMk id="9" creationId="{92C4D6DD-881B-984A-9C92-27BA5BC27568}"/>
          </ac:spMkLst>
        </pc:spChg>
        <pc:picChg chg="del">
          <ac:chgData name="Contursi, Massimo" userId="S::mcontursi@minsait.com::c11fe434-fa63-4734-8d01-c2285712721e" providerId="AD" clId="Web-{9983369F-3BD2-EDE2-AA48-F4E63D43C88A}" dt="2021-06-28T08:41:30.789" v="328"/>
          <ac:picMkLst>
            <pc:docMk/>
            <pc:sldMk cId="1111815920" sldId="711"/>
            <ac:picMk id="10" creationId="{7E8873F7-8BB2-43A8-8C87-46572D8F5BBA}"/>
          </ac:picMkLst>
        </pc:picChg>
      </pc:sldChg>
      <pc:sldChg chg="addSp delSp modSp add replId">
        <pc:chgData name="Contursi, Massimo" userId="S::mcontursi@minsait.com::c11fe434-fa63-4734-8d01-c2285712721e" providerId="AD" clId="Web-{9983369F-3BD2-EDE2-AA48-F4E63D43C88A}" dt="2021-06-28T15:11:24.667" v="1227" actId="20577"/>
        <pc:sldMkLst>
          <pc:docMk/>
          <pc:sldMk cId="3261040358" sldId="712"/>
        </pc:sldMkLst>
        <pc:spChg chg="mod">
          <ac:chgData name="Contursi, Massimo" userId="S::mcontursi@minsait.com::c11fe434-fa63-4734-8d01-c2285712721e" providerId="AD" clId="Web-{9983369F-3BD2-EDE2-AA48-F4E63D43C88A}" dt="2021-06-28T15:11:24.667" v="1227" actId="20577"/>
          <ac:spMkLst>
            <pc:docMk/>
            <pc:sldMk cId="3261040358" sldId="712"/>
            <ac:spMk id="6" creationId="{00000000-0000-0000-0000-000000000000}"/>
          </ac:spMkLst>
        </pc:spChg>
        <pc:spChg chg="mod">
          <ac:chgData name="Contursi, Massimo" userId="S::mcontursi@minsait.com::c11fe434-fa63-4734-8d01-c2285712721e" providerId="AD" clId="Web-{9983369F-3BD2-EDE2-AA48-F4E63D43C88A}" dt="2021-06-28T08:40:25.491" v="307" actId="20577"/>
          <ac:spMkLst>
            <pc:docMk/>
            <pc:sldMk cId="3261040358" sldId="712"/>
            <ac:spMk id="9" creationId="{92C4D6DD-881B-984A-9C92-27BA5BC27568}"/>
          </ac:spMkLst>
        </pc:spChg>
        <pc:picChg chg="add mod">
          <ac:chgData name="Contursi, Massimo" userId="S::mcontursi@minsait.com::c11fe434-fa63-4734-8d01-c2285712721e" providerId="AD" clId="Web-{9983369F-3BD2-EDE2-AA48-F4E63D43C88A}" dt="2021-06-28T08:41:00.945" v="312" actId="14100"/>
          <ac:picMkLst>
            <pc:docMk/>
            <pc:sldMk cId="3261040358" sldId="712"/>
            <ac:picMk id="8" creationId="{EC5226FB-875F-45C9-8E22-D0E407DBBE3E}"/>
          </ac:picMkLst>
        </pc:picChg>
        <pc:picChg chg="del">
          <ac:chgData name="Contursi, Massimo" userId="S::mcontursi@minsait.com::c11fe434-fa63-4734-8d01-c2285712721e" providerId="AD" clId="Web-{9983369F-3BD2-EDE2-AA48-F4E63D43C88A}" dt="2021-06-28T08:40:31.897" v="308"/>
          <ac:picMkLst>
            <pc:docMk/>
            <pc:sldMk cId="3261040358" sldId="712"/>
            <ac:picMk id="10" creationId="{7E8873F7-8BB2-43A8-8C87-46572D8F5BBA}"/>
          </ac:picMkLst>
        </pc:picChg>
      </pc:sldChg>
      <pc:sldChg chg="addSp delSp modSp add replId">
        <pc:chgData name="Contursi, Massimo" userId="S::mcontursi@minsait.com::c11fe434-fa63-4734-8d01-c2285712721e" providerId="AD" clId="Web-{9983369F-3BD2-EDE2-AA48-F4E63D43C88A}" dt="2021-06-28T15:11:24.620" v="1226" actId="20577"/>
        <pc:sldMkLst>
          <pc:docMk/>
          <pc:sldMk cId="3479918556" sldId="713"/>
        </pc:sldMkLst>
        <pc:spChg chg="mod">
          <ac:chgData name="Contursi, Massimo" userId="S::mcontursi@minsait.com::c11fe434-fa63-4734-8d01-c2285712721e" providerId="AD" clId="Web-{9983369F-3BD2-EDE2-AA48-F4E63D43C88A}" dt="2021-06-28T15:11:24.620" v="1226" actId="20577"/>
          <ac:spMkLst>
            <pc:docMk/>
            <pc:sldMk cId="3479918556" sldId="713"/>
            <ac:spMk id="6" creationId="{00000000-0000-0000-0000-000000000000}"/>
          </ac:spMkLst>
        </pc:spChg>
        <pc:spChg chg="mod">
          <ac:chgData name="Contursi, Massimo" userId="S::mcontursi@minsait.com::c11fe434-fa63-4734-8d01-c2285712721e" providerId="AD" clId="Web-{9983369F-3BD2-EDE2-AA48-F4E63D43C88A}" dt="2021-06-28T08:39:32.989" v="277" actId="20577"/>
          <ac:spMkLst>
            <pc:docMk/>
            <pc:sldMk cId="3479918556" sldId="713"/>
            <ac:spMk id="9" creationId="{92C4D6DD-881B-984A-9C92-27BA5BC27568}"/>
          </ac:spMkLst>
        </pc:spChg>
        <pc:picChg chg="add mod">
          <ac:chgData name="Contursi, Massimo" userId="S::mcontursi@minsait.com::c11fe434-fa63-4734-8d01-c2285712721e" providerId="AD" clId="Web-{9983369F-3BD2-EDE2-AA48-F4E63D43C88A}" dt="2021-06-28T08:40:00.006" v="281" actId="1076"/>
          <ac:picMkLst>
            <pc:docMk/>
            <pc:sldMk cId="3479918556" sldId="713"/>
            <ac:picMk id="8" creationId="{38CA41FF-9021-4061-80D4-685A7AAB5AD0}"/>
          </ac:picMkLst>
        </pc:picChg>
        <pc:picChg chg="del">
          <ac:chgData name="Contursi, Massimo" userId="S::mcontursi@minsait.com::c11fe434-fa63-4734-8d01-c2285712721e" providerId="AD" clId="Web-{9983369F-3BD2-EDE2-AA48-F4E63D43C88A}" dt="2021-06-28T08:39:34.583" v="278"/>
          <ac:picMkLst>
            <pc:docMk/>
            <pc:sldMk cId="3479918556" sldId="713"/>
            <ac:picMk id="10" creationId="{7E8873F7-8BB2-43A8-8C87-46572D8F5BBA}"/>
          </ac:picMkLst>
        </pc:picChg>
      </pc:sldChg>
      <pc:sldChg chg="addSp modSp add replId">
        <pc:chgData name="Contursi, Massimo" userId="S::mcontursi@minsait.com::c11fe434-fa63-4734-8d01-c2285712721e" providerId="AD" clId="Web-{9983369F-3BD2-EDE2-AA48-F4E63D43C88A}" dt="2021-06-28T15:11:35.183" v="1231" actId="20577"/>
        <pc:sldMkLst>
          <pc:docMk/>
          <pc:sldMk cId="1599405917" sldId="714"/>
        </pc:sldMkLst>
        <pc:spChg chg="mod">
          <ac:chgData name="Contursi, Massimo" userId="S::mcontursi@minsait.com::c11fe434-fa63-4734-8d01-c2285712721e" providerId="AD" clId="Web-{9983369F-3BD2-EDE2-AA48-F4E63D43C88A}" dt="2021-06-28T15:11:35.183" v="1231" actId="20577"/>
          <ac:spMkLst>
            <pc:docMk/>
            <pc:sldMk cId="1599405917" sldId="714"/>
            <ac:spMk id="6" creationId="{00000000-0000-0000-0000-000000000000}"/>
          </ac:spMkLst>
        </pc:spChg>
        <pc:spChg chg="mod">
          <ac:chgData name="Contursi, Massimo" userId="S::mcontursi@minsait.com::c11fe434-fa63-4734-8d01-c2285712721e" providerId="AD" clId="Web-{9983369F-3BD2-EDE2-AA48-F4E63D43C88A}" dt="2021-06-28T08:46:50.312" v="473" actId="20577"/>
          <ac:spMkLst>
            <pc:docMk/>
            <pc:sldMk cId="1599405917" sldId="714"/>
            <ac:spMk id="8" creationId="{7894DFE1-AFEB-459A-BD3A-2FDF075AB636}"/>
          </ac:spMkLst>
        </pc:spChg>
        <pc:spChg chg="mod">
          <ac:chgData name="Contursi, Massimo" userId="S::mcontursi@minsait.com::c11fe434-fa63-4734-8d01-c2285712721e" providerId="AD" clId="Web-{9983369F-3BD2-EDE2-AA48-F4E63D43C88A}" dt="2021-06-28T08:46:49.906" v="471" actId="20577"/>
          <ac:spMkLst>
            <pc:docMk/>
            <pc:sldMk cId="1599405917" sldId="714"/>
            <ac:spMk id="9" creationId="{92C4D6DD-881B-984A-9C92-27BA5BC27568}"/>
          </ac:spMkLst>
        </pc:spChg>
        <pc:picChg chg="add mod">
          <ac:chgData name="Contursi, Massimo" userId="S::mcontursi@minsait.com::c11fe434-fa63-4734-8d01-c2285712721e" providerId="AD" clId="Web-{9983369F-3BD2-EDE2-AA48-F4E63D43C88A}" dt="2021-06-28T08:47:23.531" v="476" actId="14100"/>
          <ac:picMkLst>
            <pc:docMk/>
            <pc:sldMk cId="1599405917" sldId="714"/>
            <ac:picMk id="10" creationId="{64C0DF4F-0A76-4510-81D2-CA79AFE01764}"/>
          </ac:picMkLst>
        </pc:picChg>
      </pc:sldChg>
      <pc:sldChg chg="modSp add replId">
        <pc:chgData name="Contursi, Massimo" userId="S::mcontursi@minsait.com::c11fe434-fa63-4734-8d01-c2285712721e" providerId="AD" clId="Web-{9983369F-3BD2-EDE2-AA48-F4E63D43C88A}" dt="2021-06-28T15:12:08.763" v="1240" actId="20577"/>
        <pc:sldMkLst>
          <pc:docMk/>
          <pc:sldMk cId="1319026656" sldId="715"/>
        </pc:sldMkLst>
        <pc:spChg chg="mod">
          <ac:chgData name="Contursi, Massimo" userId="S::mcontursi@minsait.com::c11fe434-fa63-4734-8d01-c2285712721e" providerId="AD" clId="Web-{9983369F-3BD2-EDE2-AA48-F4E63D43C88A}" dt="2021-06-28T15:12:08.763" v="1240" actId="20577"/>
          <ac:spMkLst>
            <pc:docMk/>
            <pc:sldMk cId="1319026656" sldId="715"/>
            <ac:spMk id="6" creationId="{00000000-0000-0000-0000-000000000000}"/>
          </ac:spMkLst>
        </pc:spChg>
      </pc:sldChg>
      <pc:sldChg chg="addSp modSp add replId">
        <pc:chgData name="Contursi, Massimo" userId="S::mcontursi@minsait.com::c11fe434-fa63-4734-8d01-c2285712721e" providerId="AD" clId="Web-{9983369F-3BD2-EDE2-AA48-F4E63D43C88A}" dt="2021-06-28T15:11:44.292" v="1233" actId="20577"/>
        <pc:sldMkLst>
          <pc:docMk/>
          <pc:sldMk cId="1245416776" sldId="716"/>
        </pc:sldMkLst>
        <pc:spChg chg="mod">
          <ac:chgData name="Contursi, Massimo" userId="S::mcontursi@minsait.com::c11fe434-fa63-4734-8d01-c2285712721e" providerId="AD" clId="Web-{9983369F-3BD2-EDE2-AA48-F4E63D43C88A}" dt="2021-06-28T15:11:44.292" v="1233" actId="20577"/>
          <ac:spMkLst>
            <pc:docMk/>
            <pc:sldMk cId="1245416776" sldId="716"/>
            <ac:spMk id="6" creationId="{00000000-0000-0000-0000-000000000000}"/>
          </ac:spMkLst>
        </pc:spChg>
        <pc:spChg chg="mod">
          <ac:chgData name="Contursi, Massimo" userId="S::mcontursi@minsait.com::c11fe434-fa63-4734-8d01-c2285712721e" providerId="AD" clId="Web-{9983369F-3BD2-EDE2-AA48-F4E63D43C88A}" dt="2021-06-28T08:47:53.157" v="489" actId="20577"/>
          <ac:spMkLst>
            <pc:docMk/>
            <pc:sldMk cId="1245416776" sldId="716"/>
            <ac:spMk id="8" creationId="{7894DFE1-AFEB-459A-BD3A-2FDF075AB636}"/>
          </ac:spMkLst>
        </pc:spChg>
        <pc:spChg chg="mod">
          <ac:chgData name="Contursi, Massimo" userId="S::mcontursi@minsait.com::c11fe434-fa63-4734-8d01-c2285712721e" providerId="AD" clId="Web-{9983369F-3BD2-EDE2-AA48-F4E63D43C88A}" dt="2021-06-28T08:47:47.329" v="486" actId="20577"/>
          <ac:spMkLst>
            <pc:docMk/>
            <pc:sldMk cId="1245416776" sldId="716"/>
            <ac:spMk id="9" creationId="{92C4D6DD-881B-984A-9C92-27BA5BC27568}"/>
          </ac:spMkLst>
        </pc:spChg>
        <pc:picChg chg="add mod">
          <ac:chgData name="Contursi, Massimo" userId="S::mcontursi@minsait.com::c11fe434-fa63-4734-8d01-c2285712721e" providerId="AD" clId="Web-{9983369F-3BD2-EDE2-AA48-F4E63D43C88A}" dt="2021-06-28T08:48:27.470" v="492" actId="14100"/>
          <ac:picMkLst>
            <pc:docMk/>
            <pc:sldMk cId="1245416776" sldId="716"/>
            <ac:picMk id="10" creationId="{A3E16EA1-2883-4A17-87A3-D554CC19843B}"/>
          </ac:picMkLst>
        </pc:picChg>
      </pc:sldChg>
      <pc:sldChg chg="modSp add replId">
        <pc:chgData name="Contursi, Massimo" userId="S::mcontursi@minsait.com::c11fe434-fa63-4734-8d01-c2285712721e" providerId="AD" clId="Web-{9983369F-3BD2-EDE2-AA48-F4E63D43C88A}" dt="2021-06-28T15:13:42.326" v="1286" actId="20577"/>
        <pc:sldMkLst>
          <pc:docMk/>
          <pc:sldMk cId="3204141979" sldId="717"/>
        </pc:sldMkLst>
        <pc:spChg chg="mod">
          <ac:chgData name="Contursi, Massimo" userId="S::mcontursi@minsait.com::c11fe434-fa63-4734-8d01-c2285712721e" providerId="AD" clId="Web-{9983369F-3BD2-EDE2-AA48-F4E63D43C88A}" dt="2021-06-28T15:13:42.326" v="1286" actId="20577"/>
          <ac:spMkLst>
            <pc:docMk/>
            <pc:sldMk cId="3204141979" sldId="717"/>
            <ac:spMk id="6" creationId="{00000000-0000-0000-0000-000000000000}"/>
          </ac:spMkLst>
        </pc:spChg>
        <pc:spChg chg="mod">
          <ac:chgData name="Contursi, Massimo" userId="S::mcontursi@minsait.com::c11fe434-fa63-4734-8d01-c2285712721e" providerId="AD" clId="Web-{9983369F-3BD2-EDE2-AA48-F4E63D43C88A}" dt="2021-06-28T12:42:13.479" v="534" actId="20577"/>
          <ac:spMkLst>
            <pc:docMk/>
            <pc:sldMk cId="3204141979" sldId="717"/>
            <ac:spMk id="9" creationId="{92C4D6DD-881B-984A-9C92-27BA5BC27568}"/>
          </ac:spMkLst>
        </pc:spChg>
        <pc:spChg chg="mod">
          <ac:chgData name="Contursi, Massimo" userId="S::mcontursi@minsait.com::c11fe434-fa63-4734-8d01-c2285712721e" providerId="AD" clId="Web-{9983369F-3BD2-EDE2-AA48-F4E63D43C88A}" dt="2021-06-28T12:44:35.862" v="550" actId="20577"/>
          <ac:spMkLst>
            <pc:docMk/>
            <pc:sldMk cId="3204141979" sldId="717"/>
            <ac:spMk id="12" creationId="{00000000-0000-0000-0000-000000000000}"/>
          </ac:spMkLst>
        </pc:spChg>
      </pc:sldChg>
      <pc:sldChg chg="modSp add replId">
        <pc:chgData name="Contursi, Massimo" userId="S::mcontursi@minsait.com::c11fe434-fa63-4734-8d01-c2285712721e" providerId="AD" clId="Web-{9983369F-3BD2-EDE2-AA48-F4E63D43C88A}" dt="2021-06-28T12:46:54.386" v="592" actId="20577"/>
        <pc:sldMkLst>
          <pc:docMk/>
          <pc:sldMk cId="3344185024" sldId="718"/>
        </pc:sldMkLst>
        <pc:spChg chg="mod">
          <ac:chgData name="Contursi, Massimo" userId="S::mcontursi@minsait.com::c11fe434-fa63-4734-8d01-c2285712721e" providerId="AD" clId="Web-{9983369F-3BD2-EDE2-AA48-F4E63D43C88A}" dt="2021-06-28T12:45:24.849" v="564" actId="20577"/>
          <ac:spMkLst>
            <pc:docMk/>
            <pc:sldMk cId="3344185024" sldId="718"/>
            <ac:spMk id="9" creationId="{92C4D6DD-881B-984A-9C92-27BA5BC27568}"/>
          </ac:spMkLst>
        </pc:spChg>
        <pc:spChg chg="mod">
          <ac:chgData name="Contursi, Massimo" userId="S::mcontursi@minsait.com::c11fe434-fa63-4734-8d01-c2285712721e" providerId="AD" clId="Web-{9983369F-3BD2-EDE2-AA48-F4E63D43C88A}" dt="2021-06-28T12:46:54.386" v="592" actId="20577"/>
          <ac:spMkLst>
            <pc:docMk/>
            <pc:sldMk cId="3344185024" sldId="718"/>
            <ac:spMk id="12" creationId="{00000000-0000-0000-0000-000000000000}"/>
          </ac:spMkLst>
        </pc:spChg>
      </pc:sldChg>
      <pc:sldChg chg="addSp modSp add replId">
        <pc:chgData name="Contursi, Massimo" userId="S::mcontursi@minsait.com::c11fe434-fa63-4734-8d01-c2285712721e" providerId="AD" clId="Web-{9983369F-3BD2-EDE2-AA48-F4E63D43C88A}" dt="2021-06-28T12:49:31.660" v="616" actId="14100"/>
        <pc:sldMkLst>
          <pc:docMk/>
          <pc:sldMk cId="3911328635" sldId="719"/>
        </pc:sldMkLst>
        <pc:spChg chg="add mod">
          <ac:chgData name="Contursi, Massimo" userId="S::mcontursi@minsait.com::c11fe434-fa63-4734-8d01-c2285712721e" providerId="AD" clId="Web-{9983369F-3BD2-EDE2-AA48-F4E63D43C88A}" dt="2021-06-28T12:49:31.660" v="616" actId="14100"/>
          <ac:spMkLst>
            <pc:docMk/>
            <pc:sldMk cId="3911328635" sldId="719"/>
            <ac:spMk id="7" creationId="{C4DDCCD3-18D4-4DA4-8104-A8A30821B467}"/>
          </ac:spMkLst>
        </pc:spChg>
        <pc:spChg chg="mod">
          <ac:chgData name="Contursi, Massimo" userId="S::mcontursi@minsait.com::c11fe434-fa63-4734-8d01-c2285712721e" providerId="AD" clId="Web-{9983369F-3BD2-EDE2-AA48-F4E63D43C88A}" dt="2021-06-28T12:47:30.231" v="598" actId="20577"/>
          <ac:spMkLst>
            <pc:docMk/>
            <pc:sldMk cId="3911328635" sldId="719"/>
            <ac:spMk id="9" creationId="{92C4D6DD-881B-984A-9C92-27BA5BC27568}"/>
          </ac:spMkLst>
        </pc:spChg>
        <pc:spChg chg="mod">
          <ac:chgData name="Contursi, Massimo" userId="S::mcontursi@minsait.com::c11fe434-fa63-4734-8d01-c2285712721e" providerId="AD" clId="Web-{9983369F-3BD2-EDE2-AA48-F4E63D43C88A}" dt="2021-06-28T12:47:45.342" v="602" actId="1076"/>
          <ac:spMkLst>
            <pc:docMk/>
            <pc:sldMk cId="3911328635" sldId="719"/>
            <ac:spMk id="11" creationId="{8FFCB682-A2FC-CA4B-AF1F-9B44DC3872A4}"/>
          </ac:spMkLst>
        </pc:spChg>
        <pc:spChg chg="mod">
          <ac:chgData name="Contursi, Massimo" userId="S::mcontursi@minsait.com::c11fe434-fa63-4734-8d01-c2285712721e" providerId="AD" clId="Web-{9983369F-3BD2-EDE2-AA48-F4E63D43C88A}" dt="2021-06-28T12:47:55.561" v="606" actId="20577"/>
          <ac:spMkLst>
            <pc:docMk/>
            <pc:sldMk cId="3911328635" sldId="719"/>
            <ac:spMk id="12" creationId="{00000000-0000-0000-0000-000000000000}"/>
          </ac:spMkLst>
        </pc:spChg>
        <pc:picChg chg="add mod">
          <ac:chgData name="Contursi, Massimo" userId="S::mcontursi@minsait.com::c11fe434-fa63-4734-8d01-c2285712721e" providerId="AD" clId="Web-{9983369F-3BD2-EDE2-AA48-F4E63D43C88A}" dt="2021-06-28T12:48:46.032" v="612" actId="1076"/>
          <ac:picMkLst>
            <pc:docMk/>
            <pc:sldMk cId="3911328635" sldId="719"/>
            <ac:picMk id="4" creationId="{84DEEA67-C453-46EB-8936-827D4501DB9A}"/>
          </ac:picMkLst>
        </pc:picChg>
      </pc:sldChg>
      <pc:sldChg chg="addSp delSp modSp add replId">
        <pc:chgData name="Contursi, Massimo" userId="S::mcontursi@minsait.com::c11fe434-fa63-4734-8d01-c2285712721e" providerId="AD" clId="Web-{9983369F-3BD2-EDE2-AA48-F4E63D43C88A}" dt="2021-06-28T15:13:54.967" v="1287" actId="20577"/>
        <pc:sldMkLst>
          <pc:docMk/>
          <pc:sldMk cId="3847193119" sldId="720"/>
        </pc:sldMkLst>
        <pc:spChg chg="mod">
          <ac:chgData name="Contursi, Massimo" userId="S::mcontursi@minsait.com::c11fe434-fa63-4734-8d01-c2285712721e" providerId="AD" clId="Web-{9983369F-3BD2-EDE2-AA48-F4E63D43C88A}" dt="2021-06-28T15:13:54.967" v="1287" actId="20577"/>
          <ac:spMkLst>
            <pc:docMk/>
            <pc:sldMk cId="3847193119" sldId="720"/>
            <ac:spMk id="6" creationId="{00000000-0000-0000-0000-000000000000}"/>
          </ac:spMkLst>
        </pc:spChg>
        <pc:spChg chg="mod">
          <ac:chgData name="Contursi, Massimo" userId="S::mcontursi@minsait.com::c11fe434-fa63-4734-8d01-c2285712721e" providerId="AD" clId="Web-{9983369F-3BD2-EDE2-AA48-F4E63D43C88A}" dt="2021-06-28T12:54:03.910" v="678" actId="20577"/>
          <ac:spMkLst>
            <pc:docMk/>
            <pc:sldMk cId="3847193119" sldId="720"/>
            <ac:spMk id="7" creationId="{C4DDCCD3-18D4-4DA4-8104-A8A30821B467}"/>
          </ac:spMkLst>
        </pc:spChg>
        <pc:spChg chg="mod">
          <ac:chgData name="Contursi, Massimo" userId="S::mcontursi@minsait.com::c11fe434-fa63-4734-8d01-c2285712721e" providerId="AD" clId="Web-{9983369F-3BD2-EDE2-AA48-F4E63D43C88A}" dt="2021-06-28T12:50:04.006" v="618" actId="20577"/>
          <ac:spMkLst>
            <pc:docMk/>
            <pc:sldMk cId="3847193119" sldId="720"/>
            <ac:spMk id="9" creationId="{92C4D6DD-881B-984A-9C92-27BA5BC27568}"/>
          </ac:spMkLst>
        </pc:spChg>
        <pc:spChg chg="mod">
          <ac:chgData name="Contursi, Massimo" userId="S::mcontursi@minsait.com::c11fe434-fa63-4734-8d01-c2285712721e" providerId="AD" clId="Web-{9983369F-3BD2-EDE2-AA48-F4E63D43C88A}" dt="2021-06-28T12:51:40.527" v="650" actId="14100"/>
          <ac:spMkLst>
            <pc:docMk/>
            <pc:sldMk cId="3847193119" sldId="720"/>
            <ac:spMk id="11" creationId="{8FFCB682-A2FC-CA4B-AF1F-9B44DC3872A4}"/>
          </ac:spMkLst>
        </pc:spChg>
        <pc:spChg chg="mod">
          <ac:chgData name="Contursi, Massimo" userId="S::mcontursi@minsait.com::c11fe434-fa63-4734-8d01-c2285712721e" providerId="AD" clId="Web-{9983369F-3BD2-EDE2-AA48-F4E63D43C88A}" dt="2021-06-28T12:54:55.303" v="683" actId="1076"/>
          <ac:spMkLst>
            <pc:docMk/>
            <pc:sldMk cId="3847193119" sldId="720"/>
            <ac:spMk id="12" creationId="{00000000-0000-0000-0000-000000000000}"/>
          </ac:spMkLst>
        </pc:spChg>
        <pc:picChg chg="del">
          <ac:chgData name="Contursi, Massimo" userId="S::mcontursi@minsait.com::c11fe434-fa63-4734-8d01-c2285712721e" providerId="AD" clId="Web-{9983369F-3BD2-EDE2-AA48-F4E63D43C88A}" dt="2021-06-28T12:50:38.929" v="621"/>
          <ac:picMkLst>
            <pc:docMk/>
            <pc:sldMk cId="3847193119" sldId="720"/>
            <ac:picMk id="4" creationId="{84DEEA67-C453-46EB-8936-827D4501DB9A}"/>
          </ac:picMkLst>
        </pc:picChg>
        <pc:picChg chg="add del mod">
          <ac:chgData name="Contursi, Massimo" userId="S::mcontursi@minsait.com::c11fe434-fa63-4734-8d01-c2285712721e" providerId="AD" clId="Web-{9983369F-3BD2-EDE2-AA48-F4E63D43C88A}" dt="2021-06-28T12:55:15.867" v="688"/>
          <ac:picMkLst>
            <pc:docMk/>
            <pc:sldMk cId="3847193119" sldId="720"/>
            <ac:picMk id="8" creationId="{3855861D-3EEE-4F9F-9DDC-0E040E9D072F}"/>
          </ac:picMkLst>
        </pc:picChg>
      </pc:sldChg>
      <pc:sldChg chg="addSp modSp add replId">
        <pc:chgData name="Contursi, Massimo" userId="S::mcontursi@minsait.com::c11fe434-fa63-4734-8d01-c2285712721e" providerId="AD" clId="Web-{9983369F-3BD2-EDE2-AA48-F4E63D43C88A}" dt="2021-06-28T15:14:01.358" v="1288" actId="20577"/>
        <pc:sldMkLst>
          <pc:docMk/>
          <pc:sldMk cId="2798416684" sldId="721"/>
        </pc:sldMkLst>
        <pc:spChg chg="mod">
          <ac:chgData name="Contursi, Massimo" userId="S::mcontursi@minsait.com::c11fe434-fa63-4734-8d01-c2285712721e" providerId="AD" clId="Web-{9983369F-3BD2-EDE2-AA48-F4E63D43C88A}" dt="2021-06-28T15:14:01.358" v="1288" actId="20577"/>
          <ac:spMkLst>
            <pc:docMk/>
            <pc:sldMk cId="2798416684" sldId="721"/>
            <ac:spMk id="6" creationId="{00000000-0000-0000-0000-000000000000}"/>
          </ac:spMkLst>
        </pc:spChg>
        <pc:spChg chg="add mod">
          <ac:chgData name="Contursi, Massimo" userId="S::mcontursi@minsait.com::c11fe434-fa63-4734-8d01-c2285712721e" providerId="AD" clId="Web-{9983369F-3BD2-EDE2-AA48-F4E63D43C88A}" dt="2021-06-28T12:57:07.701" v="710" actId="1076"/>
          <ac:spMkLst>
            <pc:docMk/>
            <pc:sldMk cId="2798416684" sldId="721"/>
            <ac:spMk id="8" creationId="{93FCEF38-D629-480A-AFED-3D687666BCEB}"/>
          </ac:spMkLst>
        </pc:spChg>
        <pc:spChg chg="mod">
          <ac:chgData name="Contursi, Massimo" userId="S::mcontursi@minsait.com::c11fe434-fa63-4734-8d01-c2285712721e" providerId="AD" clId="Web-{9983369F-3BD2-EDE2-AA48-F4E63D43C88A}" dt="2021-06-28T12:56:08.307" v="698" actId="20577"/>
          <ac:spMkLst>
            <pc:docMk/>
            <pc:sldMk cId="2798416684" sldId="721"/>
            <ac:spMk id="9" creationId="{92C4D6DD-881B-984A-9C92-27BA5BC27568}"/>
          </ac:spMkLst>
        </pc:spChg>
        <pc:spChg chg="mod">
          <ac:chgData name="Contursi, Massimo" userId="S::mcontursi@minsait.com::c11fe434-fa63-4734-8d01-c2285712721e" providerId="AD" clId="Web-{9983369F-3BD2-EDE2-AA48-F4E63D43C88A}" dt="2021-06-28T12:55:48.244" v="691" actId="20577"/>
          <ac:spMkLst>
            <pc:docMk/>
            <pc:sldMk cId="2798416684" sldId="721"/>
            <ac:spMk id="12" creationId="{00000000-0000-0000-0000-000000000000}"/>
          </ac:spMkLst>
        </pc:spChg>
        <pc:picChg chg="add mod">
          <ac:chgData name="Contursi, Massimo" userId="S::mcontursi@minsait.com::c11fe434-fa63-4734-8d01-c2285712721e" providerId="AD" clId="Web-{9983369F-3BD2-EDE2-AA48-F4E63D43C88A}" dt="2021-06-28T12:56:20.167" v="703" actId="14100"/>
          <ac:picMkLst>
            <pc:docMk/>
            <pc:sldMk cId="2798416684" sldId="721"/>
            <ac:picMk id="4" creationId="{4153DC22-BEE8-45FE-8E1F-1EE930EF1516}"/>
          </ac:picMkLst>
        </pc:picChg>
      </pc:sldChg>
      <pc:sldChg chg="addSp delSp modSp add replId">
        <pc:chgData name="Contursi, Massimo" userId="S::mcontursi@minsait.com::c11fe434-fa63-4734-8d01-c2285712721e" providerId="AD" clId="Web-{9983369F-3BD2-EDE2-AA48-F4E63D43C88A}" dt="2021-06-28T15:14:01.498" v="1290" actId="20577"/>
        <pc:sldMkLst>
          <pc:docMk/>
          <pc:sldMk cId="2937702870" sldId="722"/>
        </pc:sldMkLst>
        <pc:spChg chg="mod">
          <ac:chgData name="Contursi, Massimo" userId="S::mcontursi@minsait.com::c11fe434-fa63-4734-8d01-c2285712721e" providerId="AD" clId="Web-{9983369F-3BD2-EDE2-AA48-F4E63D43C88A}" dt="2021-06-28T15:14:01.498" v="1290" actId="20577"/>
          <ac:spMkLst>
            <pc:docMk/>
            <pc:sldMk cId="2937702870" sldId="722"/>
            <ac:spMk id="6" creationId="{00000000-0000-0000-0000-000000000000}"/>
          </ac:spMkLst>
        </pc:spChg>
        <pc:spChg chg="mod">
          <ac:chgData name="Contursi, Massimo" userId="S::mcontursi@minsait.com::c11fe434-fa63-4734-8d01-c2285712721e" providerId="AD" clId="Web-{9983369F-3BD2-EDE2-AA48-F4E63D43C88A}" dt="2021-06-28T12:59:15.677" v="735" actId="20577"/>
          <ac:spMkLst>
            <pc:docMk/>
            <pc:sldMk cId="2937702870" sldId="722"/>
            <ac:spMk id="8" creationId="{93FCEF38-D629-480A-AFED-3D687666BCEB}"/>
          </ac:spMkLst>
        </pc:spChg>
        <pc:spChg chg="mod">
          <ac:chgData name="Contursi, Massimo" userId="S::mcontursi@minsait.com::c11fe434-fa63-4734-8d01-c2285712721e" providerId="AD" clId="Web-{9983369F-3BD2-EDE2-AA48-F4E63D43C88A}" dt="2021-06-28T12:58:06.673" v="725" actId="20577"/>
          <ac:spMkLst>
            <pc:docMk/>
            <pc:sldMk cId="2937702870" sldId="722"/>
            <ac:spMk id="9" creationId="{92C4D6DD-881B-984A-9C92-27BA5BC27568}"/>
          </ac:spMkLst>
        </pc:spChg>
        <pc:spChg chg="add mod">
          <ac:chgData name="Contursi, Massimo" userId="S::mcontursi@minsait.com::c11fe434-fa63-4734-8d01-c2285712721e" providerId="AD" clId="Web-{9983369F-3BD2-EDE2-AA48-F4E63D43C88A}" dt="2021-06-28T13:00:22.775" v="745" actId="14100"/>
          <ac:spMkLst>
            <pc:docMk/>
            <pc:sldMk cId="2937702870" sldId="722"/>
            <ac:spMk id="14" creationId="{AD73D70C-77CE-4C48-B59B-E760EC9BA8FE}"/>
          </ac:spMkLst>
        </pc:spChg>
        <pc:picChg chg="del">
          <ac:chgData name="Contursi, Massimo" userId="S::mcontursi@minsait.com::c11fe434-fa63-4734-8d01-c2285712721e" providerId="AD" clId="Web-{9983369F-3BD2-EDE2-AA48-F4E63D43C88A}" dt="2021-06-28T12:58:08.158" v="726"/>
          <ac:picMkLst>
            <pc:docMk/>
            <pc:sldMk cId="2937702870" sldId="722"/>
            <ac:picMk id="4" creationId="{4153DC22-BEE8-45FE-8E1F-1EE930EF1516}"/>
          </ac:picMkLst>
        </pc:picChg>
        <pc:picChg chg="add mod">
          <ac:chgData name="Contursi, Massimo" userId="S::mcontursi@minsait.com::c11fe434-fa63-4734-8d01-c2285712721e" providerId="AD" clId="Web-{9983369F-3BD2-EDE2-AA48-F4E63D43C88A}" dt="2021-06-28T12:59:57.273" v="739" actId="1076"/>
          <ac:picMkLst>
            <pc:docMk/>
            <pc:sldMk cId="2937702870" sldId="722"/>
            <ac:picMk id="13" creationId="{D0D03AA2-0067-4A5A-9DF2-F16E071B8CC4}"/>
          </ac:picMkLst>
        </pc:picChg>
      </pc:sldChg>
      <pc:sldChg chg="addSp delSp modSp add replId">
        <pc:chgData name="Contursi, Massimo" userId="S::mcontursi@minsait.com::c11fe434-fa63-4734-8d01-c2285712721e" providerId="AD" clId="Web-{9983369F-3BD2-EDE2-AA48-F4E63D43C88A}" dt="2021-06-28T15:14:01.702" v="1292" actId="20577"/>
        <pc:sldMkLst>
          <pc:docMk/>
          <pc:sldMk cId="2437322934" sldId="723"/>
        </pc:sldMkLst>
        <pc:spChg chg="mod">
          <ac:chgData name="Contursi, Massimo" userId="S::mcontursi@minsait.com::c11fe434-fa63-4734-8d01-c2285712721e" providerId="AD" clId="Web-{9983369F-3BD2-EDE2-AA48-F4E63D43C88A}" dt="2021-06-28T15:14:01.702" v="1292" actId="20577"/>
          <ac:spMkLst>
            <pc:docMk/>
            <pc:sldMk cId="2437322934" sldId="723"/>
            <ac:spMk id="6" creationId="{00000000-0000-0000-0000-000000000000}"/>
          </ac:spMkLst>
        </pc:spChg>
        <pc:spChg chg="mod">
          <ac:chgData name="Contursi, Massimo" userId="S::mcontursi@minsait.com::c11fe434-fa63-4734-8d01-c2285712721e" providerId="AD" clId="Web-{9983369F-3BD2-EDE2-AA48-F4E63D43C88A}" dt="2021-06-28T13:02:03.468" v="753" actId="20577"/>
          <ac:spMkLst>
            <pc:docMk/>
            <pc:sldMk cId="2437322934" sldId="723"/>
            <ac:spMk id="8" creationId="{93FCEF38-D629-480A-AFED-3D687666BCEB}"/>
          </ac:spMkLst>
        </pc:spChg>
        <pc:spChg chg="mod">
          <ac:chgData name="Contursi, Massimo" userId="S::mcontursi@minsait.com::c11fe434-fa63-4734-8d01-c2285712721e" providerId="AD" clId="Web-{9983369F-3BD2-EDE2-AA48-F4E63D43C88A}" dt="2021-06-28T13:01:44.123" v="749" actId="20577"/>
          <ac:spMkLst>
            <pc:docMk/>
            <pc:sldMk cId="2437322934" sldId="723"/>
            <ac:spMk id="9" creationId="{92C4D6DD-881B-984A-9C92-27BA5BC27568}"/>
          </ac:spMkLst>
        </pc:spChg>
        <pc:spChg chg="mod">
          <ac:chgData name="Contursi, Massimo" userId="S::mcontursi@minsait.com::c11fe434-fa63-4734-8d01-c2285712721e" providerId="AD" clId="Web-{9983369F-3BD2-EDE2-AA48-F4E63D43C88A}" dt="2021-06-28T13:01:57.374" v="752" actId="20577"/>
          <ac:spMkLst>
            <pc:docMk/>
            <pc:sldMk cId="2437322934" sldId="723"/>
            <ac:spMk id="14" creationId="{AD73D70C-77CE-4C48-B59B-E760EC9BA8FE}"/>
          </ac:spMkLst>
        </pc:spChg>
        <pc:picChg chg="add mod">
          <ac:chgData name="Contursi, Massimo" userId="S::mcontursi@minsait.com::c11fe434-fa63-4734-8d01-c2285712721e" providerId="AD" clId="Web-{9983369F-3BD2-EDE2-AA48-F4E63D43C88A}" dt="2021-06-28T13:02:39.517" v="757" actId="1076"/>
          <ac:picMkLst>
            <pc:docMk/>
            <pc:sldMk cId="2437322934" sldId="723"/>
            <ac:picMk id="4" creationId="{90CA40AA-95F8-4795-8BC7-21AD972F255F}"/>
          </ac:picMkLst>
        </pc:picChg>
        <pc:picChg chg="del">
          <ac:chgData name="Contursi, Massimo" userId="S::mcontursi@minsait.com::c11fe434-fa63-4734-8d01-c2285712721e" providerId="AD" clId="Web-{9983369F-3BD2-EDE2-AA48-F4E63D43C88A}" dt="2021-06-28T13:01:54.514" v="750"/>
          <ac:picMkLst>
            <pc:docMk/>
            <pc:sldMk cId="2437322934" sldId="723"/>
            <ac:picMk id="13" creationId="{D0D03AA2-0067-4A5A-9DF2-F16E071B8CC4}"/>
          </ac:picMkLst>
        </pc:picChg>
      </pc:sldChg>
      <pc:sldChg chg="delSp modSp add replId">
        <pc:chgData name="Contursi, Massimo" userId="S::mcontursi@minsait.com::c11fe434-fa63-4734-8d01-c2285712721e" providerId="AD" clId="Web-{9983369F-3BD2-EDE2-AA48-F4E63D43C88A}" dt="2021-06-28T15:14:11.796" v="1293" actId="20577"/>
        <pc:sldMkLst>
          <pc:docMk/>
          <pc:sldMk cId="4209711073" sldId="724"/>
        </pc:sldMkLst>
        <pc:spChg chg="mod">
          <ac:chgData name="Contursi, Massimo" userId="S::mcontursi@minsait.com::c11fe434-fa63-4734-8d01-c2285712721e" providerId="AD" clId="Web-{9983369F-3BD2-EDE2-AA48-F4E63D43C88A}" dt="2021-06-28T15:14:11.796" v="1293" actId="20577"/>
          <ac:spMkLst>
            <pc:docMk/>
            <pc:sldMk cId="4209711073" sldId="724"/>
            <ac:spMk id="6" creationId="{00000000-0000-0000-0000-000000000000}"/>
          </ac:spMkLst>
        </pc:spChg>
        <pc:spChg chg="mod">
          <ac:chgData name="Contursi, Massimo" userId="S::mcontursi@minsait.com::c11fe434-fa63-4734-8d01-c2285712721e" providerId="AD" clId="Web-{9983369F-3BD2-EDE2-AA48-F4E63D43C88A}" dt="2021-06-28T13:03:31.582" v="794" actId="20577"/>
          <ac:spMkLst>
            <pc:docMk/>
            <pc:sldMk cId="4209711073" sldId="724"/>
            <ac:spMk id="8" creationId="{93FCEF38-D629-480A-AFED-3D687666BCEB}"/>
          </ac:spMkLst>
        </pc:spChg>
        <pc:spChg chg="mod">
          <ac:chgData name="Contursi, Massimo" userId="S::mcontursi@minsait.com::c11fe434-fa63-4734-8d01-c2285712721e" providerId="AD" clId="Web-{9983369F-3BD2-EDE2-AA48-F4E63D43C88A}" dt="2021-06-28T13:02:59.346" v="764" actId="20577"/>
          <ac:spMkLst>
            <pc:docMk/>
            <pc:sldMk cId="4209711073" sldId="724"/>
            <ac:spMk id="9" creationId="{92C4D6DD-881B-984A-9C92-27BA5BC27568}"/>
          </ac:spMkLst>
        </pc:spChg>
        <pc:picChg chg="del">
          <ac:chgData name="Contursi, Massimo" userId="S::mcontursi@minsait.com::c11fe434-fa63-4734-8d01-c2285712721e" providerId="AD" clId="Web-{9983369F-3BD2-EDE2-AA48-F4E63D43C88A}" dt="2021-06-28T13:02:59.440" v="765"/>
          <ac:picMkLst>
            <pc:docMk/>
            <pc:sldMk cId="4209711073" sldId="724"/>
            <ac:picMk id="4" creationId="{90CA40AA-95F8-4795-8BC7-21AD972F255F}"/>
          </ac:picMkLst>
        </pc:picChg>
      </pc:sldChg>
      <pc:sldChg chg="modSp add replId">
        <pc:chgData name="Contursi, Massimo" userId="S::mcontursi@minsait.com::c11fe434-fa63-4734-8d01-c2285712721e" providerId="AD" clId="Web-{9983369F-3BD2-EDE2-AA48-F4E63D43C88A}" dt="2021-06-28T15:14:19.405" v="1295" actId="20577"/>
        <pc:sldMkLst>
          <pc:docMk/>
          <pc:sldMk cId="3132082088" sldId="725"/>
        </pc:sldMkLst>
        <pc:spChg chg="mod">
          <ac:chgData name="Contursi, Massimo" userId="S::mcontursi@minsait.com::c11fe434-fa63-4734-8d01-c2285712721e" providerId="AD" clId="Web-{9983369F-3BD2-EDE2-AA48-F4E63D43C88A}" dt="2021-06-28T15:14:19.405" v="1295" actId="20577"/>
          <ac:spMkLst>
            <pc:docMk/>
            <pc:sldMk cId="3132082088" sldId="725"/>
            <ac:spMk id="6" creationId="{00000000-0000-0000-0000-000000000000}"/>
          </ac:spMkLst>
        </pc:spChg>
        <pc:spChg chg="mod">
          <ac:chgData name="Contursi, Massimo" userId="S::mcontursi@minsait.com::c11fe434-fa63-4734-8d01-c2285712721e" providerId="AD" clId="Web-{9983369F-3BD2-EDE2-AA48-F4E63D43C88A}" dt="2021-06-28T13:04:54.571" v="825" actId="20577"/>
          <ac:spMkLst>
            <pc:docMk/>
            <pc:sldMk cId="3132082088" sldId="725"/>
            <ac:spMk id="8" creationId="{93FCEF38-D629-480A-AFED-3D687666BCEB}"/>
          </ac:spMkLst>
        </pc:spChg>
        <pc:spChg chg="mod">
          <ac:chgData name="Contursi, Massimo" userId="S::mcontursi@minsait.com::c11fe434-fa63-4734-8d01-c2285712721e" providerId="AD" clId="Web-{9983369F-3BD2-EDE2-AA48-F4E63D43C88A}" dt="2021-06-28T13:04:23.257" v="822" actId="20577"/>
          <ac:spMkLst>
            <pc:docMk/>
            <pc:sldMk cId="3132082088" sldId="725"/>
            <ac:spMk id="9" creationId="{92C4D6DD-881B-984A-9C92-27BA5BC27568}"/>
          </ac:spMkLst>
        </pc:spChg>
      </pc:sldChg>
      <pc:sldChg chg="addSp modSp add replId">
        <pc:chgData name="Contursi, Massimo" userId="S::mcontursi@minsait.com::c11fe434-fa63-4734-8d01-c2285712721e" providerId="AD" clId="Web-{9983369F-3BD2-EDE2-AA48-F4E63D43C88A}" dt="2021-06-28T15:14:20.874" v="1296" actId="20577"/>
        <pc:sldMkLst>
          <pc:docMk/>
          <pc:sldMk cId="1213365879" sldId="726"/>
        </pc:sldMkLst>
        <pc:spChg chg="mod">
          <ac:chgData name="Contursi, Massimo" userId="S::mcontursi@minsait.com::c11fe434-fa63-4734-8d01-c2285712721e" providerId="AD" clId="Web-{9983369F-3BD2-EDE2-AA48-F4E63D43C88A}" dt="2021-06-28T15:14:20.874" v="1296" actId="20577"/>
          <ac:spMkLst>
            <pc:docMk/>
            <pc:sldMk cId="1213365879" sldId="726"/>
            <ac:spMk id="6" creationId="{00000000-0000-0000-0000-000000000000}"/>
          </ac:spMkLst>
        </pc:spChg>
        <pc:spChg chg="mod">
          <ac:chgData name="Contursi, Massimo" userId="S::mcontursi@minsait.com::c11fe434-fa63-4734-8d01-c2285712721e" providerId="AD" clId="Web-{9983369F-3BD2-EDE2-AA48-F4E63D43C88A}" dt="2021-06-28T13:06:07.669" v="838" actId="20577"/>
          <ac:spMkLst>
            <pc:docMk/>
            <pc:sldMk cId="1213365879" sldId="726"/>
            <ac:spMk id="8" creationId="{93FCEF38-D629-480A-AFED-3D687666BCEB}"/>
          </ac:spMkLst>
        </pc:spChg>
        <pc:spChg chg="mod">
          <ac:chgData name="Contursi, Massimo" userId="S::mcontursi@minsait.com::c11fe434-fa63-4734-8d01-c2285712721e" providerId="AD" clId="Web-{9983369F-3BD2-EDE2-AA48-F4E63D43C88A}" dt="2021-06-28T13:05:32.214" v="831" actId="20577"/>
          <ac:spMkLst>
            <pc:docMk/>
            <pc:sldMk cId="1213365879" sldId="726"/>
            <ac:spMk id="9" creationId="{92C4D6DD-881B-984A-9C92-27BA5BC27568}"/>
          </ac:spMkLst>
        </pc:spChg>
        <pc:picChg chg="add mod">
          <ac:chgData name="Contursi, Massimo" userId="S::mcontursi@minsait.com::c11fe434-fa63-4734-8d01-c2285712721e" providerId="AD" clId="Web-{9983369F-3BD2-EDE2-AA48-F4E63D43C88A}" dt="2021-06-28T13:05:52.825" v="836" actId="14100"/>
          <ac:picMkLst>
            <pc:docMk/>
            <pc:sldMk cId="1213365879" sldId="726"/>
            <ac:picMk id="4" creationId="{150A1B01-9634-4F85-9BA9-71DD8B500A1C}"/>
          </ac:picMkLst>
        </pc:picChg>
      </pc:sldChg>
      <pc:sldChg chg="delSp modSp add replId">
        <pc:chgData name="Contursi, Massimo" userId="S::mcontursi@minsait.com::c11fe434-fa63-4734-8d01-c2285712721e" providerId="AD" clId="Web-{9983369F-3BD2-EDE2-AA48-F4E63D43C88A}" dt="2021-06-28T15:14:29.811" v="1298" actId="20577"/>
        <pc:sldMkLst>
          <pc:docMk/>
          <pc:sldMk cId="564373966" sldId="727"/>
        </pc:sldMkLst>
        <pc:spChg chg="mod">
          <ac:chgData name="Contursi, Massimo" userId="S::mcontursi@minsait.com::c11fe434-fa63-4734-8d01-c2285712721e" providerId="AD" clId="Web-{9983369F-3BD2-EDE2-AA48-F4E63D43C88A}" dt="2021-06-28T15:14:29.811" v="1298" actId="20577"/>
          <ac:spMkLst>
            <pc:docMk/>
            <pc:sldMk cId="564373966" sldId="727"/>
            <ac:spMk id="6" creationId="{00000000-0000-0000-0000-000000000000}"/>
          </ac:spMkLst>
        </pc:spChg>
        <pc:spChg chg="mod">
          <ac:chgData name="Contursi, Massimo" userId="S::mcontursi@minsait.com::c11fe434-fa63-4734-8d01-c2285712721e" providerId="AD" clId="Web-{9983369F-3BD2-EDE2-AA48-F4E63D43C88A}" dt="2021-06-28T13:10:13.449" v="880" actId="20577"/>
          <ac:spMkLst>
            <pc:docMk/>
            <pc:sldMk cId="564373966" sldId="727"/>
            <ac:spMk id="8" creationId="{93FCEF38-D629-480A-AFED-3D687666BCEB}"/>
          </ac:spMkLst>
        </pc:spChg>
        <pc:spChg chg="mod">
          <ac:chgData name="Contursi, Massimo" userId="S::mcontursi@minsait.com::c11fe434-fa63-4734-8d01-c2285712721e" providerId="AD" clId="Web-{9983369F-3BD2-EDE2-AA48-F4E63D43C88A}" dt="2021-06-28T13:09:09.617" v="857" actId="20577"/>
          <ac:spMkLst>
            <pc:docMk/>
            <pc:sldMk cId="564373966" sldId="727"/>
            <ac:spMk id="9" creationId="{92C4D6DD-881B-984A-9C92-27BA5BC27568}"/>
          </ac:spMkLst>
        </pc:spChg>
        <pc:picChg chg="del">
          <ac:chgData name="Contursi, Massimo" userId="S::mcontursi@minsait.com::c11fe434-fa63-4734-8d01-c2285712721e" providerId="AD" clId="Web-{9983369F-3BD2-EDE2-AA48-F4E63D43C88A}" dt="2021-06-28T13:09:18.102" v="858"/>
          <ac:picMkLst>
            <pc:docMk/>
            <pc:sldMk cId="564373966" sldId="727"/>
            <ac:picMk id="4" creationId="{150A1B01-9634-4F85-9BA9-71DD8B500A1C}"/>
          </ac:picMkLst>
        </pc:picChg>
      </pc:sldChg>
      <pc:sldChg chg="modSp add replId">
        <pc:chgData name="Contursi, Massimo" userId="S::mcontursi@minsait.com::c11fe434-fa63-4734-8d01-c2285712721e" providerId="AD" clId="Web-{9983369F-3BD2-EDE2-AA48-F4E63D43C88A}" dt="2021-06-28T15:14:42.202" v="1312" actId="20577"/>
        <pc:sldMkLst>
          <pc:docMk/>
          <pc:sldMk cId="1176596638" sldId="728"/>
        </pc:sldMkLst>
        <pc:spChg chg="mod">
          <ac:chgData name="Contursi, Massimo" userId="S::mcontursi@minsait.com::c11fe434-fa63-4734-8d01-c2285712721e" providerId="AD" clId="Web-{9983369F-3BD2-EDE2-AA48-F4E63D43C88A}" dt="2021-06-28T15:14:42.202" v="1312" actId="20577"/>
          <ac:spMkLst>
            <pc:docMk/>
            <pc:sldMk cId="1176596638" sldId="728"/>
            <ac:spMk id="6" creationId="{00000000-0000-0000-0000-000000000000}"/>
          </ac:spMkLst>
        </pc:spChg>
        <pc:spChg chg="mod">
          <ac:chgData name="Contursi, Massimo" userId="S::mcontursi@minsait.com::c11fe434-fa63-4734-8d01-c2285712721e" providerId="AD" clId="Web-{9983369F-3BD2-EDE2-AA48-F4E63D43C88A}" dt="2021-06-28T13:18:41.774" v="925" actId="20577"/>
          <ac:spMkLst>
            <pc:docMk/>
            <pc:sldMk cId="1176596638" sldId="728"/>
            <ac:spMk id="9" creationId="{92C4D6DD-881B-984A-9C92-27BA5BC27568}"/>
          </ac:spMkLst>
        </pc:spChg>
        <pc:spChg chg="mod">
          <ac:chgData name="Contursi, Massimo" userId="S::mcontursi@minsait.com::c11fe434-fa63-4734-8d01-c2285712721e" providerId="AD" clId="Web-{9983369F-3BD2-EDE2-AA48-F4E63D43C88A}" dt="2021-06-28T13:19:54.872" v="935" actId="20577"/>
          <ac:spMkLst>
            <pc:docMk/>
            <pc:sldMk cId="1176596638" sldId="728"/>
            <ac:spMk id="12" creationId="{00000000-0000-0000-0000-000000000000}"/>
          </ac:spMkLst>
        </pc:spChg>
      </pc:sldChg>
      <pc:sldChg chg="addSp delSp modSp add replId">
        <pc:chgData name="Contursi, Massimo" userId="S::mcontursi@minsait.com::c11fe434-fa63-4734-8d01-c2285712721e" providerId="AD" clId="Web-{9983369F-3BD2-EDE2-AA48-F4E63D43C88A}" dt="2021-06-28T15:14:51.112" v="1316" actId="20577"/>
        <pc:sldMkLst>
          <pc:docMk/>
          <pc:sldMk cId="3514905613" sldId="729"/>
        </pc:sldMkLst>
        <pc:spChg chg="mod">
          <ac:chgData name="Contursi, Massimo" userId="S::mcontursi@minsait.com::c11fe434-fa63-4734-8d01-c2285712721e" providerId="AD" clId="Web-{9983369F-3BD2-EDE2-AA48-F4E63D43C88A}" dt="2021-06-28T15:14:51.112" v="1316" actId="20577"/>
          <ac:spMkLst>
            <pc:docMk/>
            <pc:sldMk cId="3514905613" sldId="729"/>
            <ac:spMk id="6" creationId="{00000000-0000-0000-0000-000000000000}"/>
          </ac:spMkLst>
        </pc:spChg>
        <pc:spChg chg="mod">
          <ac:chgData name="Contursi, Massimo" userId="S::mcontursi@minsait.com::c11fe434-fa63-4734-8d01-c2285712721e" providerId="AD" clId="Web-{9983369F-3BD2-EDE2-AA48-F4E63D43C88A}" dt="2021-06-28T13:26:40.473" v="953" actId="20577"/>
          <ac:spMkLst>
            <pc:docMk/>
            <pc:sldMk cId="3514905613" sldId="729"/>
            <ac:spMk id="9" creationId="{92C4D6DD-881B-984A-9C92-27BA5BC27568}"/>
          </ac:spMkLst>
        </pc:spChg>
        <pc:picChg chg="del">
          <ac:chgData name="Contursi, Massimo" userId="S::mcontursi@minsait.com::c11fe434-fa63-4734-8d01-c2285712721e" providerId="AD" clId="Web-{9983369F-3BD2-EDE2-AA48-F4E63D43C88A}" dt="2021-06-28T13:26:40.551" v="954"/>
          <ac:picMkLst>
            <pc:docMk/>
            <pc:sldMk cId="3514905613" sldId="729"/>
            <ac:picMk id="4" creationId="{28653E76-D5D0-4015-A36E-B2B4C97948EC}"/>
          </ac:picMkLst>
        </pc:picChg>
        <pc:picChg chg="add mod">
          <ac:chgData name="Contursi, Massimo" userId="S::mcontursi@minsait.com::c11fe434-fa63-4734-8d01-c2285712721e" providerId="AD" clId="Web-{9983369F-3BD2-EDE2-AA48-F4E63D43C88A}" dt="2021-06-28T13:26:58.865" v="957" actId="14100"/>
          <ac:picMkLst>
            <pc:docMk/>
            <pc:sldMk cId="3514905613" sldId="729"/>
            <ac:picMk id="8" creationId="{D45D0D9B-FA70-4A0F-B674-9DB00A9129CE}"/>
          </ac:picMkLst>
        </pc:picChg>
      </pc:sldChg>
      <pc:sldChg chg="addSp delSp modSp add replId">
        <pc:chgData name="Contursi, Massimo" userId="S::mcontursi@minsait.com::c11fe434-fa63-4734-8d01-c2285712721e" providerId="AD" clId="Web-{9983369F-3BD2-EDE2-AA48-F4E63D43C88A}" dt="2021-06-28T15:11:44.386" v="1235" actId="20577"/>
        <pc:sldMkLst>
          <pc:docMk/>
          <pc:sldMk cId="70737625" sldId="730"/>
        </pc:sldMkLst>
        <pc:spChg chg="mod">
          <ac:chgData name="Contursi, Massimo" userId="S::mcontursi@minsait.com::c11fe434-fa63-4734-8d01-c2285712721e" providerId="AD" clId="Web-{9983369F-3BD2-EDE2-AA48-F4E63D43C88A}" dt="2021-06-28T15:11:44.386" v="1235" actId="20577"/>
          <ac:spMkLst>
            <pc:docMk/>
            <pc:sldMk cId="70737625" sldId="730"/>
            <ac:spMk id="6" creationId="{00000000-0000-0000-0000-000000000000}"/>
          </ac:spMkLst>
        </pc:spChg>
        <pc:spChg chg="mod">
          <ac:chgData name="Contursi, Massimo" userId="S::mcontursi@minsait.com::c11fe434-fa63-4734-8d01-c2285712721e" providerId="AD" clId="Web-{9983369F-3BD2-EDE2-AA48-F4E63D43C88A}" dt="2021-06-28T13:28:35.026" v="959" actId="20577"/>
          <ac:spMkLst>
            <pc:docMk/>
            <pc:sldMk cId="70737625" sldId="730"/>
            <ac:spMk id="9" creationId="{92C4D6DD-881B-984A-9C92-27BA5BC27568}"/>
          </ac:spMkLst>
        </pc:spChg>
        <pc:picChg chg="del">
          <ac:chgData name="Contursi, Massimo" userId="S::mcontursi@minsait.com::c11fe434-fa63-4734-8d01-c2285712721e" providerId="AD" clId="Web-{9983369F-3BD2-EDE2-AA48-F4E63D43C88A}" dt="2021-06-28T13:28:51.434" v="960"/>
          <ac:picMkLst>
            <pc:docMk/>
            <pc:sldMk cId="70737625" sldId="730"/>
            <ac:picMk id="10" creationId="{A3E16EA1-2883-4A17-87A3-D554CC19843B}"/>
          </ac:picMkLst>
        </pc:picChg>
        <pc:picChg chg="add mod">
          <ac:chgData name="Contursi, Massimo" userId="S::mcontursi@minsait.com::c11fe434-fa63-4734-8d01-c2285712721e" providerId="AD" clId="Web-{9983369F-3BD2-EDE2-AA48-F4E63D43C88A}" dt="2021-06-28T13:28:57.590" v="963" actId="14100"/>
          <ac:picMkLst>
            <pc:docMk/>
            <pc:sldMk cId="70737625" sldId="730"/>
            <ac:picMk id="11" creationId="{0D5043C2-4E0F-4D23-84DD-62EA1CCD6D15}"/>
          </ac:picMkLst>
        </pc:picChg>
      </pc:sldChg>
      <pc:sldChg chg="addSp delSp modSp add replId">
        <pc:chgData name="Contursi, Massimo" userId="S::mcontursi@minsait.com::c11fe434-fa63-4734-8d01-c2285712721e" providerId="AD" clId="Web-{9983369F-3BD2-EDE2-AA48-F4E63D43C88A}" dt="2021-06-28T15:12:01.793" v="1237" actId="20577"/>
        <pc:sldMkLst>
          <pc:docMk/>
          <pc:sldMk cId="406940586" sldId="731"/>
        </pc:sldMkLst>
        <pc:spChg chg="mod">
          <ac:chgData name="Contursi, Massimo" userId="S::mcontursi@minsait.com::c11fe434-fa63-4734-8d01-c2285712721e" providerId="AD" clId="Web-{9983369F-3BD2-EDE2-AA48-F4E63D43C88A}" dt="2021-06-28T15:12:01.793" v="1237" actId="20577"/>
          <ac:spMkLst>
            <pc:docMk/>
            <pc:sldMk cId="406940586" sldId="731"/>
            <ac:spMk id="6" creationId="{00000000-0000-0000-0000-000000000000}"/>
          </ac:spMkLst>
        </pc:spChg>
        <pc:picChg chg="add mod">
          <ac:chgData name="Contursi, Massimo" userId="S::mcontursi@minsait.com::c11fe434-fa63-4734-8d01-c2285712721e" providerId="AD" clId="Web-{9983369F-3BD2-EDE2-AA48-F4E63D43C88A}" dt="2021-06-28T13:29:56.328" v="969" actId="1076"/>
          <ac:picMkLst>
            <pc:docMk/>
            <pc:sldMk cId="406940586" sldId="731"/>
            <ac:picMk id="10" creationId="{CAC907E5-1A1D-4E70-B861-AAF116FA83C6}"/>
          </ac:picMkLst>
        </pc:picChg>
        <pc:picChg chg="del">
          <ac:chgData name="Contursi, Massimo" userId="S::mcontursi@minsait.com::c11fe434-fa63-4734-8d01-c2285712721e" providerId="AD" clId="Web-{9983369F-3BD2-EDE2-AA48-F4E63D43C88A}" dt="2021-06-28T13:29:54.359" v="966"/>
          <ac:picMkLst>
            <pc:docMk/>
            <pc:sldMk cId="406940586" sldId="731"/>
            <ac:picMk id="11" creationId="{0D5043C2-4E0F-4D23-84DD-62EA1CCD6D15}"/>
          </ac:picMkLst>
        </pc:picChg>
      </pc:sldChg>
      <pc:sldChg chg="addSp delSp modSp add replId">
        <pc:chgData name="Contursi, Massimo" userId="S::mcontursi@minsait.com::c11fe434-fa63-4734-8d01-c2285712721e" providerId="AD" clId="Web-{9983369F-3BD2-EDE2-AA48-F4E63D43C88A}" dt="2021-06-28T15:12:08.543" v="1238" actId="20577"/>
        <pc:sldMkLst>
          <pc:docMk/>
          <pc:sldMk cId="3389358940" sldId="732"/>
        </pc:sldMkLst>
        <pc:spChg chg="mod">
          <ac:chgData name="Contursi, Massimo" userId="S::mcontursi@minsait.com::c11fe434-fa63-4734-8d01-c2285712721e" providerId="AD" clId="Web-{9983369F-3BD2-EDE2-AA48-F4E63D43C88A}" dt="2021-06-28T15:12:08.543" v="1238" actId="20577"/>
          <ac:spMkLst>
            <pc:docMk/>
            <pc:sldMk cId="3389358940" sldId="732"/>
            <ac:spMk id="6" creationId="{00000000-0000-0000-0000-000000000000}"/>
          </ac:spMkLst>
        </pc:spChg>
        <pc:picChg chg="del">
          <ac:chgData name="Contursi, Massimo" userId="S::mcontursi@minsait.com::c11fe434-fa63-4734-8d01-c2285712721e" providerId="AD" clId="Web-{9983369F-3BD2-EDE2-AA48-F4E63D43C88A}" dt="2021-06-28T13:30:18.095" v="971"/>
          <ac:picMkLst>
            <pc:docMk/>
            <pc:sldMk cId="3389358940" sldId="732"/>
            <ac:picMk id="10" creationId="{CAC907E5-1A1D-4E70-B861-AAF116FA83C6}"/>
          </ac:picMkLst>
        </pc:picChg>
        <pc:picChg chg="add mod">
          <ac:chgData name="Contursi, Massimo" userId="S::mcontursi@minsait.com::c11fe434-fa63-4734-8d01-c2285712721e" providerId="AD" clId="Web-{9983369F-3BD2-EDE2-AA48-F4E63D43C88A}" dt="2021-06-28T13:30:37.064" v="975" actId="14100"/>
          <ac:picMkLst>
            <pc:docMk/>
            <pc:sldMk cId="3389358940" sldId="732"/>
            <ac:picMk id="11" creationId="{D6E1C235-3EDD-4C20-9216-7581510A3E1F}"/>
          </ac:picMkLst>
        </pc:picChg>
      </pc:sldChg>
      <pc:sldChg chg="modSp add replId">
        <pc:chgData name="Contursi, Massimo" userId="S::mcontursi@minsait.com::c11fe434-fa63-4734-8d01-c2285712721e" providerId="AD" clId="Web-{9983369F-3BD2-EDE2-AA48-F4E63D43C88A}" dt="2021-06-28T15:12:27.215" v="1252" actId="14100"/>
        <pc:sldMkLst>
          <pc:docMk/>
          <pc:sldMk cId="3307362375" sldId="733"/>
        </pc:sldMkLst>
        <pc:spChg chg="mod">
          <ac:chgData name="Contursi, Massimo" userId="S::mcontursi@minsait.com::c11fe434-fa63-4734-8d01-c2285712721e" providerId="AD" clId="Web-{9983369F-3BD2-EDE2-AA48-F4E63D43C88A}" dt="2021-06-28T15:12:27.215" v="1252" actId="14100"/>
          <ac:spMkLst>
            <pc:docMk/>
            <pc:sldMk cId="3307362375" sldId="733"/>
            <ac:spMk id="6" creationId="{00000000-0000-0000-0000-000000000000}"/>
          </ac:spMkLst>
        </pc:spChg>
        <pc:spChg chg="mod">
          <ac:chgData name="Contursi, Massimo" userId="S::mcontursi@minsait.com::c11fe434-fa63-4734-8d01-c2285712721e" providerId="AD" clId="Web-{9983369F-3BD2-EDE2-AA48-F4E63D43C88A}" dt="2021-06-28T14:17:39.894" v="992" actId="20577"/>
          <ac:spMkLst>
            <pc:docMk/>
            <pc:sldMk cId="3307362375" sldId="733"/>
            <ac:spMk id="8" creationId="{7894DFE1-AFEB-459A-BD3A-2FDF075AB636}"/>
          </ac:spMkLst>
        </pc:spChg>
        <pc:spChg chg="mod">
          <ac:chgData name="Contursi, Massimo" userId="S::mcontursi@minsait.com::c11fe434-fa63-4734-8d01-c2285712721e" providerId="AD" clId="Web-{9983369F-3BD2-EDE2-AA48-F4E63D43C88A}" dt="2021-06-28T14:06:04.988" v="986" actId="20577"/>
          <ac:spMkLst>
            <pc:docMk/>
            <pc:sldMk cId="3307362375" sldId="733"/>
            <ac:spMk id="9" creationId="{92C4D6DD-881B-984A-9C92-27BA5BC27568}"/>
          </ac:spMkLst>
        </pc:spChg>
      </pc:sldChg>
      <pc:sldChg chg="add del replId">
        <pc:chgData name="Contursi, Massimo" userId="S::mcontursi@minsait.com::c11fe434-fa63-4734-8d01-c2285712721e" providerId="AD" clId="Web-{9983369F-3BD2-EDE2-AA48-F4E63D43C88A}" dt="2021-06-28T13:31:27.677" v="977"/>
        <pc:sldMkLst>
          <pc:docMk/>
          <pc:sldMk cId="4214412205" sldId="733"/>
        </pc:sldMkLst>
      </pc:sldChg>
      <pc:sldChg chg="modSp add replId">
        <pc:chgData name="Contursi, Massimo" userId="S::mcontursi@minsait.com::c11fe434-fa63-4734-8d01-c2285712721e" providerId="AD" clId="Web-{9983369F-3BD2-EDE2-AA48-F4E63D43C88A}" dt="2021-06-28T15:12:38.028" v="1254" actId="14100"/>
        <pc:sldMkLst>
          <pc:docMk/>
          <pc:sldMk cId="419870809" sldId="734"/>
        </pc:sldMkLst>
        <pc:spChg chg="mod">
          <ac:chgData name="Contursi, Massimo" userId="S::mcontursi@minsait.com::c11fe434-fa63-4734-8d01-c2285712721e" providerId="AD" clId="Web-{9983369F-3BD2-EDE2-AA48-F4E63D43C88A}" dt="2021-06-28T15:12:38.028" v="1254" actId="14100"/>
          <ac:spMkLst>
            <pc:docMk/>
            <pc:sldMk cId="419870809" sldId="734"/>
            <ac:spMk id="6" creationId="{00000000-0000-0000-0000-000000000000}"/>
          </ac:spMkLst>
        </pc:spChg>
        <pc:spChg chg="mod">
          <ac:chgData name="Contursi, Massimo" userId="S::mcontursi@minsait.com::c11fe434-fa63-4734-8d01-c2285712721e" providerId="AD" clId="Web-{9983369F-3BD2-EDE2-AA48-F4E63D43C88A}" dt="2021-06-28T14:18:24.348" v="999" actId="20577"/>
          <ac:spMkLst>
            <pc:docMk/>
            <pc:sldMk cId="419870809" sldId="734"/>
            <ac:spMk id="8" creationId="{7894DFE1-AFEB-459A-BD3A-2FDF075AB636}"/>
          </ac:spMkLst>
        </pc:spChg>
        <pc:spChg chg="mod">
          <ac:chgData name="Contursi, Massimo" userId="S::mcontursi@minsait.com::c11fe434-fa63-4734-8d01-c2285712721e" providerId="AD" clId="Web-{9983369F-3BD2-EDE2-AA48-F4E63D43C88A}" dt="2021-06-28T14:18:02.378" v="994" actId="20577"/>
          <ac:spMkLst>
            <pc:docMk/>
            <pc:sldMk cId="419870809" sldId="734"/>
            <ac:spMk id="9" creationId="{92C4D6DD-881B-984A-9C92-27BA5BC27568}"/>
          </ac:spMkLst>
        </pc:spChg>
      </pc:sldChg>
      <pc:sldChg chg="modSp add replId">
        <pc:chgData name="Contursi, Massimo" userId="S::mcontursi@minsait.com::c11fe434-fa63-4734-8d01-c2285712721e" providerId="AD" clId="Web-{9983369F-3BD2-EDE2-AA48-F4E63D43C88A}" dt="2021-06-28T15:12:48.215" v="1256" actId="14100"/>
        <pc:sldMkLst>
          <pc:docMk/>
          <pc:sldMk cId="3937135247" sldId="735"/>
        </pc:sldMkLst>
        <pc:spChg chg="mod">
          <ac:chgData name="Contursi, Massimo" userId="S::mcontursi@minsait.com::c11fe434-fa63-4734-8d01-c2285712721e" providerId="AD" clId="Web-{9983369F-3BD2-EDE2-AA48-F4E63D43C88A}" dt="2021-06-28T15:12:48.215" v="1256" actId="14100"/>
          <ac:spMkLst>
            <pc:docMk/>
            <pc:sldMk cId="3937135247" sldId="735"/>
            <ac:spMk id="6" creationId="{00000000-0000-0000-0000-000000000000}"/>
          </ac:spMkLst>
        </pc:spChg>
        <pc:spChg chg="mod">
          <ac:chgData name="Contursi, Massimo" userId="S::mcontursi@minsait.com::c11fe434-fa63-4734-8d01-c2285712721e" providerId="AD" clId="Web-{9983369F-3BD2-EDE2-AA48-F4E63D43C88A}" dt="2021-06-28T14:22:19.072" v="1044" actId="20577"/>
          <ac:spMkLst>
            <pc:docMk/>
            <pc:sldMk cId="3937135247" sldId="735"/>
            <ac:spMk id="8" creationId="{7894DFE1-AFEB-459A-BD3A-2FDF075AB636}"/>
          </ac:spMkLst>
        </pc:spChg>
        <pc:spChg chg="mod">
          <ac:chgData name="Contursi, Massimo" userId="S::mcontursi@minsait.com::c11fe434-fa63-4734-8d01-c2285712721e" providerId="AD" clId="Web-{9983369F-3BD2-EDE2-AA48-F4E63D43C88A}" dt="2021-06-28T14:20:16.631" v="1006" actId="20577"/>
          <ac:spMkLst>
            <pc:docMk/>
            <pc:sldMk cId="3937135247" sldId="735"/>
            <ac:spMk id="9" creationId="{92C4D6DD-881B-984A-9C92-27BA5BC27568}"/>
          </ac:spMkLst>
        </pc:spChg>
      </pc:sldChg>
      <pc:sldChg chg="modSp add replId">
        <pc:chgData name="Contursi, Massimo" userId="S::mcontursi@minsait.com::c11fe434-fa63-4734-8d01-c2285712721e" providerId="AD" clId="Web-{9983369F-3BD2-EDE2-AA48-F4E63D43C88A}" dt="2021-06-28T15:12:48.559" v="1259" actId="14100"/>
        <pc:sldMkLst>
          <pc:docMk/>
          <pc:sldMk cId="210188985" sldId="736"/>
        </pc:sldMkLst>
        <pc:spChg chg="mod">
          <ac:chgData name="Contursi, Massimo" userId="S::mcontursi@minsait.com::c11fe434-fa63-4734-8d01-c2285712721e" providerId="AD" clId="Web-{9983369F-3BD2-EDE2-AA48-F4E63D43C88A}" dt="2021-06-28T15:12:48.559" v="1259" actId="14100"/>
          <ac:spMkLst>
            <pc:docMk/>
            <pc:sldMk cId="210188985" sldId="736"/>
            <ac:spMk id="6" creationId="{00000000-0000-0000-0000-000000000000}"/>
          </ac:spMkLst>
        </pc:spChg>
        <pc:spChg chg="mod">
          <ac:chgData name="Contursi, Massimo" userId="S::mcontursi@minsait.com::c11fe434-fa63-4734-8d01-c2285712721e" providerId="AD" clId="Web-{9983369F-3BD2-EDE2-AA48-F4E63D43C88A}" dt="2021-06-28T14:24:21.090" v="1054" actId="20577"/>
          <ac:spMkLst>
            <pc:docMk/>
            <pc:sldMk cId="210188985" sldId="736"/>
            <ac:spMk id="8" creationId="{7894DFE1-AFEB-459A-BD3A-2FDF075AB636}"/>
          </ac:spMkLst>
        </pc:spChg>
      </pc:sldChg>
      <pc:sldChg chg="modSp add replId">
        <pc:chgData name="Contursi, Massimo" userId="S::mcontursi@minsait.com::c11fe434-fa63-4734-8d01-c2285712721e" providerId="AD" clId="Web-{9983369F-3BD2-EDE2-AA48-F4E63D43C88A}" dt="2021-06-28T15:12:59.060" v="1261" actId="14100"/>
        <pc:sldMkLst>
          <pc:docMk/>
          <pc:sldMk cId="3646997360" sldId="737"/>
        </pc:sldMkLst>
        <pc:spChg chg="mod">
          <ac:chgData name="Contursi, Massimo" userId="S::mcontursi@minsait.com::c11fe434-fa63-4734-8d01-c2285712721e" providerId="AD" clId="Web-{9983369F-3BD2-EDE2-AA48-F4E63D43C88A}" dt="2021-06-28T15:12:59.060" v="1261" actId="14100"/>
          <ac:spMkLst>
            <pc:docMk/>
            <pc:sldMk cId="3646997360" sldId="737"/>
            <ac:spMk id="6" creationId="{00000000-0000-0000-0000-000000000000}"/>
          </ac:spMkLst>
        </pc:spChg>
        <pc:spChg chg="mod">
          <ac:chgData name="Contursi, Massimo" userId="S::mcontursi@minsait.com::c11fe434-fa63-4734-8d01-c2285712721e" providerId="AD" clId="Web-{9983369F-3BD2-EDE2-AA48-F4E63D43C88A}" dt="2021-06-28T14:35:48.136" v="1097" actId="20577"/>
          <ac:spMkLst>
            <pc:docMk/>
            <pc:sldMk cId="3646997360" sldId="737"/>
            <ac:spMk id="8" creationId="{7894DFE1-AFEB-459A-BD3A-2FDF075AB636}"/>
          </ac:spMkLst>
        </pc:spChg>
        <pc:spChg chg="mod">
          <ac:chgData name="Contursi, Massimo" userId="S::mcontursi@minsait.com::c11fe434-fa63-4734-8d01-c2285712721e" providerId="AD" clId="Web-{9983369F-3BD2-EDE2-AA48-F4E63D43C88A}" dt="2021-06-28T14:28:37.783" v="1059" actId="20577"/>
          <ac:spMkLst>
            <pc:docMk/>
            <pc:sldMk cId="3646997360" sldId="737"/>
            <ac:spMk id="9" creationId="{92C4D6DD-881B-984A-9C92-27BA5BC27568}"/>
          </ac:spMkLst>
        </pc:spChg>
      </pc:sldChg>
      <pc:sldChg chg="addSp modSp add replId">
        <pc:chgData name="Contursi, Massimo" userId="S::mcontursi@minsait.com::c11fe434-fa63-4734-8d01-c2285712721e" providerId="AD" clId="Web-{9983369F-3BD2-EDE2-AA48-F4E63D43C88A}" dt="2021-06-28T15:13:08.982" v="1266" actId="20577"/>
        <pc:sldMkLst>
          <pc:docMk/>
          <pc:sldMk cId="2911752510" sldId="738"/>
        </pc:sldMkLst>
        <pc:spChg chg="mod">
          <ac:chgData name="Contursi, Massimo" userId="S::mcontursi@minsait.com::c11fe434-fa63-4734-8d01-c2285712721e" providerId="AD" clId="Web-{9983369F-3BD2-EDE2-AA48-F4E63D43C88A}" dt="2021-06-28T15:12:59.388" v="1264" actId="14100"/>
          <ac:spMkLst>
            <pc:docMk/>
            <pc:sldMk cId="2911752510" sldId="738"/>
            <ac:spMk id="6" creationId="{00000000-0000-0000-0000-000000000000}"/>
          </ac:spMkLst>
        </pc:spChg>
        <pc:spChg chg="mod">
          <ac:chgData name="Contursi, Massimo" userId="S::mcontursi@minsait.com::c11fe434-fa63-4734-8d01-c2285712721e" providerId="AD" clId="Web-{9983369F-3BD2-EDE2-AA48-F4E63D43C88A}" dt="2021-06-28T15:13:08.982" v="1266" actId="20577"/>
          <ac:spMkLst>
            <pc:docMk/>
            <pc:sldMk cId="2911752510" sldId="738"/>
            <ac:spMk id="8" creationId="{7894DFE1-AFEB-459A-BD3A-2FDF075AB636}"/>
          </ac:spMkLst>
        </pc:spChg>
        <pc:picChg chg="add mod">
          <ac:chgData name="Contursi, Massimo" userId="S::mcontursi@minsait.com::c11fe434-fa63-4734-8d01-c2285712721e" providerId="AD" clId="Web-{9983369F-3BD2-EDE2-AA48-F4E63D43C88A}" dt="2021-06-28T14:37:04.388" v="1109" actId="1076"/>
          <ac:picMkLst>
            <pc:docMk/>
            <pc:sldMk cId="2911752510" sldId="738"/>
            <ac:picMk id="10" creationId="{B83477FC-CDD8-4E1B-98B9-E10E39D46A5C}"/>
          </ac:picMkLst>
        </pc:picChg>
      </pc:sldChg>
      <pc:sldChg chg="addSp delSp modSp add replId">
        <pc:chgData name="Contursi, Massimo" userId="S::mcontursi@minsait.com::c11fe434-fa63-4734-8d01-c2285712721e" providerId="AD" clId="Web-{9983369F-3BD2-EDE2-AA48-F4E63D43C88A}" dt="2021-06-28T15:13:20.747" v="1271" actId="14100"/>
        <pc:sldMkLst>
          <pc:docMk/>
          <pc:sldMk cId="1059808682" sldId="739"/>
        </pc:sldMkLst>
        <pc:spChg chg="mod">
          <ac:chgData name="Contursi, Massimo" userId="S::mcontursi@minsait.com::c11fe434-fa63-4734-8d01-c2285712721e" providerId="AD" clId="Web-{9983369F-3BD2-EDE2-AA48-F4E63D43C88A}" dt="2021-06-28T15:13:20.747" v="1271" actId="14100"/>
          <ac:spMkLst>
            <pc:docMk/>
            <pc:sldMk cId="1059808682" sldId="739"/>
            <ac:spMk id="6" creationId="{00000000-0000-0000-0000-000000000000}"/>
          </ac:spMkLst>
        </pc:spChg>
        <pc:spChg chg="mod">
          <ac:chgData name="Contursi, Massimo" userId="S::mcontursi@minsait.com::c11fe434-fa63-4734-8d01-c2285712721e" providerId="AD" clId="Web-{9983369F-3BD2-EDE2-AA48-F4E63D43C88A}" dt="2021-06-28T14:38:09.842" v="1120" actId="14100"/>
          <ac:spMkLst>
            <pc:docMk/>
            <pc:sldMk cId="1059808682" sldId="739"/>
            <ac:spMk id="8" creationId="{7894DFE1-AFEB-459A-BD3A-2FDF075AB636}"/>
          </ac:spMkLst>
        </pc:spChg>
        <pc:picChg chg="del">
          <ac:chgData name="Contursi, Massimo" userId="S::mcontursi@minsait.com::c11fe434-fa63-4734-8d01-c2285712721e" providerId="AD" clId="Web-{9983369F-3BD2-EDE2-AA48-F4E63D43C88A}" dt="2021-06-28T14:38:00.905" v="1115"/>
          <ac:picMkLst>
            <pc:docMk/>
            <pc:sldMk cId="1059808682" sldId="739"/>
            <ac:picMk id="10" creationId="{B83477FC-CDD8-4E1B-98B9-E10E39D46A5C}"/>
          </ac:picMkLst>
        </pc:picChg>
        <pc:picChg chg="add mod">
          <ac:chgData name="Contursi, Massimo" userId="S::mcontursi@minsait.com::c11fe434-fa63-4734-8d01-c2285712721e" providerId="AD" clId="Web-{9983369F-3BD2-EDE2-AA48-F4E63D43C88A}" dt="2021-06-28T14:38:10.811" v="1122" actId="1076"/>
          <ac:picMkLst>
            <pc:docMk/>
            <pc:sldMk cId="1059808682" sldId="739"/>
            <ac:picMk id="11" creationId="{B8BF5A22-A149-4963-A5DF-335A2BB7083B}"/>
          </ac:picMkLst>
        </pc:picChg>
      </pc:sldChg>
      <pc:sldChg chg="addSp delSp modSp add replId">
        <pc:chgData name="Contursi, Massimo" userId="S::mcontursi@minsait.com::c11fe434-fa63-4734-8d01-c2285712721e" providerId="AD" clId="Web-{9983369F-3BD2-EDE2-AA48-F4E63D43C88A}" dt="2021-06-28T15:13:19.388" v="1269" actId="14100"/>
        <pc:sldMkLst>
          <pc:docMk/>
          <pc:sldMk cId="1819070389" sldId="740"/>
        </pc:sldMkLst>
        <pc:spChg chg="mod">
          <ac:chgData name="Contursi, Massimo" userId="S::mcontursi@minsait.com::c11fe434-fa63-4734-8d01-c2285712721e" providerId="AD" clId="Web-{9983369F-3BD2-EDE2-AA48-F4E63D43C88A}" dt="2021-06-28T15:13:19.388" v="1269" actId="14100"/>
          <ac:spMkLst>
            <pc:docMk/>
            <pc:sldMk cId="1819070389" sldId="740"/>
            <ac:spMk id="6" creationId="{00000000-0000-0000-0000-000000000000}"/>
          </ac:spMkLst>
        </pc:spChg>
        <pc:spChg chg="mod">
          <ac:chgData name="Contursi, Massimo" userId="S::mcontursi@minsait.com::c11fe434-fa63-4734-8d01-c2285712721e" providerId="AD" clId="Web-{9983369F-3BD2-EDE2-AA48-F4E63D43C88A}" dt="2021-06-28T14:39:55.017" v="1129" actId="14100"/>
          <ac:spMkLst>
            <pc:docMk/>
            <pc:sldMk cId="1819070389" sldId="740"/>
            <ac:spMk id="8" creationId="{7894DFE1-AFEB-459A-BD3A-2FDF075AB636}"/>
          </ac:spMkLst>
        </pc:spChg>
        <pc:picChg chg="del">
          <ac:chgData name="Contursi, Massimo" userId="S::mcontursi@minsait.com::c11fe434-fa63-4734-8d01-c2285712721e" providerId="AD" clId="Web-{9983369F-3BD2-EDE2-AA48-F4E63D43C88A}" dt="2021-06-28T14:39:47.766" v="1124"/>
          <ac:picMkLst>
            <pc:docMk/>
            <pc:sldMk cId="1819070389" sldId="740"/>
            <ac:picMk id="10" creationId="{B83477FC-CDD8-4E1B-98B9-E10E39D46A5C}"/>
          </ac:picMkLst>
        </pc:picChg>
        <pc:picChg chg="add mod">
          <ac:chgData name="Contursi, Massimo" userId="S::mcontursi@minsait.com::c11fe434-fa63-4734-8d01-c2285712721e" providerId="AD" clId="Web-{9983369F-3BD2-EDE2-AA48-F4E63D43C88A}" dt="2021-06-28T14:39:55.204" v="1132" actId="14100"/>
          <ac:picMkLst>
            <pc:docMk/>
            <pc:sldMk cId="1819070389" sldId="740"/>
            <ac:picMk id="11" creationId="{1030BD0C-ED8D-4B75-B495-948FE1809B95}"/>
          </ac:picMkLst>
        </pc:picChg>
      </pc:sldChg>
      <pc:sldChg chg="delSp modSp add replId">
        <pc:chgData name="Contursi, Massimo" userId="S::mcontursi@minsait.com::c11fe434-fa63-4734-8d01-c2285712721e" providerId="AD" clId="Web-{9983369F-3BD2-EDE2-AA48-F4E63D43C88A}" dt="2021-06-28T15:15:21.531" v="1341"/>
        <pc:sldMkLst>
          <pc:docMk/>
          <pc:sldMk cId="3550885704" sldId="741"/>
        </pc:sldMkLst>
        <pc:spChg chg="mod">
          <ac:chgData name="Contursi, Massimo" userId="S::mcontursi@minsait.com::c11fe434-fa63-4734-8d01-c2285712721e" providerId="AD" clId="Web-{9983369F-3BD2-EDE2-AA48-F4E63D43C88A}" dt="2021-06-28T15:15:21.484" v="1340" actId="20577"/>
          <ac:spMkLst>
            <pc:docMk/>
            <pc:sldMk cId="3550885704" sldId="741"/>
            <ac:spMk id="9" creationId="{92C4D6DD-881B-984A-9C92-27BA5BC27568}"/>
          </ac:spMkLst>
        </pc:spChg>
        <pc:picChg chg="del">
          <ac:chgData name="Contursi, Massimo" userId="S::mcontursi@minsait.com::c11fe434-fa63-4734-8d01-c2285712721e" providerId="AD" clId="Web-{9983369F-3BD2-EDE2-AA48-F4E63D43C88A}" dt="2021-06-28T15:15:21.531" v="1341"/>
          <ac:picMkLst>
            <pc:docMk/>
            <pc:sldMk cId="3550885704" sldId="741"/>
            <ac:picMk id="8" creationId="{D45D0D9B-FA70-4A0F-B674-9DB00A9129CE}"/>
          </ac:picMkLst>
        </pc:picChg>
      </pc:sldChg>
    </pc:docChg>
  </pc:docChgLst>
  <pc:docChgLst>
    <pc:chgData name="Contursi, Massimo" userId="S::mcontursi@minsait.com::c11fe434-fa63-4734-8d01-c2285712721e" providerId="AD" clId="Web-{8B431E1D-2BB0-4305-A2B5-BA237987B9E3}"/>
    <pc:docChg chg="modSld">
      <pc:chgData name="Contursi, Massimo" userId="S::mcontursi@minsait.com::c11fe434-fa63-4734-8d01-c2285712721e" providerId="AD" clId="Web-{8B431E1D-2BB0-4305-A2B5-BA237987B9E3}" dt="2021-06-25T16:44:30.282" v="163" actId="20577"/>
      <pc:docMkLst>
        <pc:docMk/>
      </pc:docMkLst>
      <pc:sldChg chg="addSp delSp modSp">
        <pc:chgData name="Contursi, Massimo" userId="S::mcontursi@minsait.com::c11fe434-fa63-4734-8d01-c2285712721e" providerId="AD" clId="Web-{8B431E1D-2BB0-4305-A2B5-BA237987B9E3}" dt="2021-06-25T16:44:30.282" v="163" actId="20577"/>
        <pc:sldMkLst>
          <pc:docMk/>
          <pc:sldMk cId="1913011545" sldId="683"/>
        </pc:sldMkLst>
        <pc:spChg chg="add mod">
          <ac:chgData name="Contursi, Massimo" userId="S::mcontursi@minsait.com::c11fe434-fa63-4734-8d01-c2285712721e" providerId="AD" clId="Web-{8B431E1D-2BB0-4305-A2B5-BA237987B9E3}" dt="2021-06-25T16:39:38.430" v="84" actId="1076"/>
          <ac:spMkLst>
            <pc:docMk/>
            <pc:sldMk cId="1913011545" sldId="683"/>
            <ac:spMk id="7" creationId="{BE42C93B-682E-4B69-A75B-B76ECDB7F715}"/>
          </ac:spMkLst>
        </pc:spChg>
        <pc:spChg chg="add mod">
          <ac:chgData name="Contursi, Massimo" userId="S::mcontursi@minsait.com::c11fe434-fa63-4734-8d01-c2285712721e" providerId="AD" clId="Web-{8B431E1D-2BB0-4305-A2B5-BA237987B9E3}" dt="2021-06-25T16:36:37.188" v="67" actId="1076"/>
          <ac:spMkLst>
            <pc:docMk/>
            <pc:sldMk cId="1913011545" sldId="683"/>
            <ac:spMk id="8" creationId="{2CA3F87B-07D1-453F-B1D3-09B49F2226D8}"/>
          </ac:spMkLst>
        </pc:spChg>
        <pc:spChg chg="mod">
          <ac:chgData name="Contursi, Massimo" userId="S::mcontursi@minsait.com::c11fe434-fa63-4734-8d01-c2285712721e" providerId="AD" clId="Web-{8B431E1D-2BB0-4305-A2B5-BA237987B9E3}" dt="2021-06-25T16:36:03.734" v="58" actId="14100"/>
          <ac:spMkLst>
            <pc:docMk/>
            <pc:sldMk cId="1913011545" sldId="683"/>
            <ac:spMk id="9" creationId="{92C4D6DD-881B-984A-9C92-27BA5BC27568}"/>
          </ac:spMkLst>
        </pc:spChg>
        <pc:spChg chg="add mod">
          <ac:chgData name="Contursi, Massimo" userId="S::mcontursi@minsait.com::c11fe434-fa63-4734-8d01-c2285712721e" providerId="AD" clId="Web-{8B431E1D-2BB0-4305-A2B5-BA237987B9E3}" dt="2021-06-25T16:44:30.282" v="163" actId="20577"/>
          <ac:spMkLst>
            <pc:docMk/>
            <pc:sldMk cId="1913011545" sldId="683"/>
            <ac:spMk id="13" creationId="{9CDFBC7B-A687-4790-BD6A-373EF9689E14}"/>
          </ac:spMkLst>
        </pc:spChg>
        <pc:spChg chg="add del">
          <ac:chgData name="Contursi, Massimo" userId="S::mcontursi@minsait.com::c11fe434-fa63-4734-8d01-c2285712721e" providerId="AD" clId="Web-{8B431E1D-2BB0-4305-A2B5-BA237987B9E3}" dt="2021-06-25T16:36:12.406" v="64"/>
          <ac:spMkLst>
            <pc:docMk/>
            <pc:sldMk cId="1913011545" sldId="683"/>
            <ac:spMk id="14" creationId="{D19385E8-B026-4F90-97A6-A23E3F56BEF5}"/>
          </ac:spMkLst>
        </pc:spChg>
        <pc:graphicFrameChg chg="del mod modGraphic">
          <ac:chgData name="Contursi, Massimo" userId="S::mcontursi@minsait.com::c11fe434-fa63-4734-8d01-c2285712721e" providerId="AD" clId="Web-{8B431E1D-2BB0-4305-A2B5-BA237987B9E3}" dt="2021-06-25T16:28:54.675" v="5"/>
          <ac:graphicFrameMkLst>
            <pc:docMk/>
            <pc:sldMk cId="1913011545" sldId="683"/>
            <ac:graphicFrameMk id="12" creationId="{00000000-0000-0000-0000-000000000000}"/>
          </ac:graphicFrameMkLst>
        </pc:graphicFrameChg>
        <pc:picChg chg="add del mod">
          <ac:chgData name="Contursi, Massimo" userId="S::mcontursi@minsait.com::c11fe434-fa63-4734-8d01-c2285712721e" providerId="AD" clId="Web-{8B431E1D-2BB0-4305-A2B5-BA237987B9E3}" dt="2021-06-25T16:39:52.477" v="88"/>
          <ac:picMkLst>
            <pc:docMk/>
            <pc:sldMk cId="1913011545" sldId="683"/>
            <ac:picMk id="4" creationId="{10343128-29A8-4649-BD70-DB07D232230C}"/>
          </ac:picMkLst>
        </pc:picChg>
      </pc:sldChg>
    </pc:docChg>
  </pc:docChgLst>
  <pc:docChgLst>
    <pc:chgData name="Scopinaro, Nicola" userId="S::nscopinaro@minsait.com::eb8d673b-84cc-4b06-b16a-a631b6e7e333" providerId="AD" clId="Web-{767E9032-7BF3-6E5F-3F6C-6458B4A74D68}"/>
    <pc:docChg chg="addSld delSld">
      <pc:chgData name="Scopinaro, Nicola" userId="S::nscopinaro@minsait.com::eb8d673b-84cc-4b06-b16a-a631b6e7e333" providerId="AD" clId="Web-{767E9032-7BF3-6E5F-3F6C-6458B4A74D68}" dt="2021-07-02T07:52:43.873" v="129"/>
      <pc:docMkLst>
        <pc:docMk/>
      </pc:docMkLst>
      <pc:sldChg chg="add del">
        <pc:chgData name="Scopinaro, Nicola" userId="S::nscopinaro@minsait.com::eb8d673b-84cc-4b06-b16a-a631b6e7e333" providerId="AD" clId="Web-{767E9032-7BF3-6E5F-3F6C-6458B4A74D68}" dt="2021-07-02T07:52:05.919" v="65"/>
        <pc:sldMkLst>
          <pc:docMk/>
          <pc:sldMk cId="1471350083" sldId="388"/>
        </pc:sldMkLst>
      </pc:sldChg>
      <pc:sldChg chg="add del">
        <pc:chgData name="Scopinaro, Nicola" userId="S::nscopinaro@minsait.com::eb8d673b-84cc-4b06-b16a-a631b6e7e333" providerId="AD" clId="Web-{767E9032-7BF3-6E5F-3F6C-6458B4A74D68}" dt="2021-07-02T07:52:43.264" v="119"/>
        <pc:sldMkLst>
          <pc:docMk/>
          <pc:sldMk cId="3753667108" sldId="500"/>
        </pc:sldMkLst>
      </pc:sldChg>
      <pc:sldChg chg="add del">
        <pc:chgData name="Scopinaro, Nicola" userId="S::nscopinaro@minsait.com::eb8d673b-84cc-4b06-b16a-a631b6e7e333" providerId="AD" clId="Web-{767E9032-7BF3-6E5F-3F6C-6458B4A74D68}" dt="2021-07-02T07:52:06.903" v="86"/>
        <pc:sldMkLst>
          <pc:docMk/>
          <pc:sldMk cId="2857684569" sldId="546"/>
        </pc:sldMkLst>
      </pc:sldChg>
      <pc:sldChg chg="add del">
        <pc:chgData name="Scopinaro, Nicola" userId="S::nscopinaro@minsait.com::eb8d673b-84cc-4b06-b16a-a631b6e7e333" providerId="AD" clId="Web-{767E9032-7BF3-6E5F-3F6C-6458B4A74D68}" dt="2021-07-02T07:52:06.935" v="87"/>
        <pc:sldMkLst>
          <pc:docMk/>
          <pc:sldMk cId="3162177924" sldId="547"/>
        </pc:sldMkLst>
      </pc:sldChg>
      <pc:sldChg chg="add del">
        <pc:chgData name="Scopinaro, Nicola" userId="S::nscopinaro@minsait.com::eb8d673b-84cc-4b06-b16a-a631b6e7e333" providerId="AD" clId="Web-{767E9032-7BF3-6E5F-3F6C-6458B4A74D68}" dt="2021-07-02T07:52:06.966" v="88"/>
        <pc:sldMkLst>
          <pc:docMk/>
          <pc:sldMk cId="1059869000" sldId="548"/>
        </pc:sldMkLst>
      </pc:sldChg>
      <pc:sldChg chg="add del">
        <pc:chgData name="Scopinaro, Nicola" userId="S::nscopinaro@minsait.com::eb8d673b-84cc-4b06-b16a-a631b6e7e333" providerId="AD" clId="Web-{767E9032-7BF3-6E5F-3F6C-6458B4A74D68}" dt="2021-07-02T07:52:07.028" v="89"/>
        <pc:sldMkLst>
          <pc:docMk/>
          <pc:sldMk cId="2193350840" sldId="549"/>
        </pc:sldMkLst>
      </pc:sldChg>
      <pc:sldChg chg="add del">
        <pc:chgData name="Scopinaro, Nicola" userId="S::nscopinaro@minsait.com::eb8d673b-84cc-4b06-b16a-a631b6e7e333" providerId="AD" clId="Web-{767E9032-7BF3-6E5F-3F6C-6458B4A74D68}" dt="2021-07-02T07:52:07.075" v="90"/>
        <pc:sldMkLst>
          <pc:docMk/>
          <pc:sldMk cId="2092170524" sldId="550"/>
        </pc:sldMkLst>
      </pc:sldChg>
      <pc:sldChg chg="add del">
        <pc:chgData name="Scopinaro, Nicola" userId="S::nscopinaro@minsait.com::eb8d673b-84cc-4b06-b16a-a631b6e7e333" providerId="AD" clId="Web-{767E9032-7BF3-6E5F-3F6C-6458B4A74D68}" dt="2021-07-02T07:52:07.122" v="91"/>
        <pc:sldMkLst>
          <pc:docMk/>
          <pc:sldMk cId="1912427145" sldId="551"/>
        </pc:sldMkLst>
      </pc:sldChg>
      <pc:sldChg chg="add del">
        <pc:chgData name="Scopinaro, Nicola" userId="S::nscopinaro@minsait.com::eb8d673b-84cc-4b06-b16a-a631b6e7e333" providerId="AD" clId="Web-{767E9032-7BF3-6E5F-3F6C-6458B4A74D68}" dt="2021-07-02T07:52:07.169" v="92"/>
        <pc:sldMkLst>
          <pc:docMk/>
          <pc:sldMk cId="2905538135" sldId="552"/>
        </pc:sldMkLst>
      </pc:sldChg>
      <pc:sldChg chg="add del">
        <pc:chgData name="Scopinaro, Nicola" userId="S::nscopinaro@minsait.com::eb8d673b-84cc-4b06-b16a-a631b6e7e333" providerId="AD" clId="Web-{767E9032-7BF3-6E5F-3F6C-6458B4A74D68}" dt="2021-07-02T07:52:07.216" v="93"/>
        <pc:sldMkLst>
          <pc:docMk/>
          <pc:sldMk cId="1662452717" sldId="553"/>
        </pc:sldMkLst>
      </pc:sldChg>
      <pc:sldChg chg="add del">
        <pc:chgData name="Scopinaro, Nicola" userId="S::nscopinaro@minsait.com::eb8d673b-84cc-4b06-b16a-a631b6e7e333" providerId="AD" clId="Web-{767E9032-7BF3-6E5F-3F6C-6458B4A74D68}" dt="2021-07-02T07:52:07.263" v="94"/>
        <pc:sldMkLst>
          <pc:docMk/>
          <pc:sldMk cId="4277320374" sldId="554"/>
        </pc:sldMkLst>
      </pc:sldChg>
      <pc:sldChg chg="add del">
        <pc:chgData name="Scopinaro, Nicola" userId="S::nscopinaro@minsait.com::eb8d673b-84cc-4b06-b16a-a631b6e7e333" providerId="AD" clId="Web-{767E9032-7BF3-6E5F-3F6C-6458B4A74D68}" dt="2021-07-02T07:52:07.325" v="95"/>
        <pc:sldMkLst>
          <pc:docMk/>
          <pc:sldMk cId="671619985" sldId="555"/>
        </pc:sldMkLst>
      </pc:sldChg>
      <pc:sldChg chg="add del">
        <pc:chgData name="Scopinaro, Nicola" userId="S::nscopinaro@minsait.com::eb8d673b-84cc-4b06-b16a-a631b6e7e333" providerId="AD" clId="Web-{767E9032-7BF3-6E5F-3F6C-6458B4A74D68}" dt="2021-07-02T07:52:07.372" v="96"/>
        <pc:sldMkLst>
          <pc:docMk/>
          <pc:sldMk cId="3713537034" sldId="556"/>
        </pc:sldMkLst>
      </pc:sldChg>
      <pc:sldChg chg="add del">
        <pc:chgData name="Scopinaro, Nicola" userId="S::nscopinaro@minsait.com::eb8d673b-84cc-4b06-b16a-a631b6e7e333" providerId="AD" clId="Web-{767E9032-7BF3-6E5F-3F6C-6458B4A74D68}" dt="2021-07-02T07:52:07.419" v="97"/>
        <pc:sldMkLst>
          <pc:docMk/>
          <pc:sldMk cId="1903397905" sldId="557"/>
        </pc:sldMkLst>
      </pc:sldChg>
      <pc:sldChg chg="add del">
        <pc:chgData name="Scopinaro, Nicola" userId="S::nscopinaro@minsait.com::eb8d673b-84cc-4b06-b16a-a631b6e7e333" providerId="AD" clId="Web-{767E9032-7BF3-6E5F-3F6C-6458B4A74D68}" dt="2021-07-02T07:52:07.622" v="100"/>
        <pc:sldMkLst>
          <pc:docMk/>
          <pc:sldMk cId="3085965770" sldId="558"/>
        </pc:sldMkLst>
      </pc:sldChg>
      <pc:sldChg chg="add del">
        <pc:chgData name="Scopinaro, Nicola" userId="S::nscopinaro@minsait.com::eb8d673b-84cc-4b06-b16a-a631b6e7e333" providerId="AD" clId="Web-{767E9032-7BF3-6E5F-3F6C-6458B4A74D68}" dt="2021-07-02T07:52:07.700" v="101"/>
        <pc:sldMkLst>
          <pc:docMk/>
          <pc:sldMk cId="1911207866" sldId="559"/>
        </pc:sldMkLst>
      </pc:sldChg>
      <pc:sldChg chg="add del">
        <pc:chgData name="Scopinaro, Nicola" userId="S::nscopinaro@minsait.com::eb8d673b-84cc-4b06-b16a-a631b6e7e333" providerId="AD" clId="Web-{767E9032-7BF3-6E5F-3F6C-6458B4A74D68}" dt="2021-07-02T07:52:07.763" v="102"/>
        <pc:sldMkLst>
          <pc:docMk/>
          <pc:sldMk cId="2904216524" sldId="560"/>
        </pc:sldMkLst>
      </pc:sldChg>
      <pc:sldChg chg="add del">
        <pc:chgData name="Scopinaro, Nicola" userId="S::nscopinaro@minsait.com::eb8d673b-84cc-4b06-b16a-a631b6e7e333" providerId="AD" clId="Web-{767E9032-7BF3-6E5F-3F6C-6458B4A74D68}" dt="2021-07-02T07:52:08.122" v="109"/>
        <pc:sldMkLst>
          <pc:docMk/>
          <pc:sldMk cId="1013352451" sldId="561"/>
        </pc:sldMkLst>
      </pc:sldChg>
      <pc:sldChg chg="add del">
        <pc:chgData name="Scopinaro, Nicola" userId="S::nscopinaro@minsait.com::eb8d673b-84cc-4b06-b16a-a631b6e7e333" providerId="AD" clId="Web-{767E9032-7BF3-6E5F-3F6C-6458B4A74D68}" dt="2021-07-02T07:52:08.200" v="110"/>
        <pc:sldMkLst>
          <pc:docMk/>
          <pc:sldMk cId="3511943984" sldId="562"/>
        </pc:sldMkLst>
      </pc:sldChg>
      <pc:sldChg chg="add del">
        <pc:chgData name="Scopinaro, Nicola" userId="S::nscopinaro@minsait.com::eb8d673b-84cc-4b06-b16a-a631b6e7e333" providerId="AD" clId="Web-{767E9032-7BF3-6E5F-3F6C-6458B4A74D68}" dt="2021-07-02T07:52:07.794" v="103"/>
        <pc:sldMkLst>
          <pc:docMk/>
          <pc:sldMk cId="2907004476" sldId="563"/>
        </pc:sldMkLst>
      </pc:sldChg>
      <pc:sldChg chg="add del">
        <pc:chgData name="Scopinaro, Nicola" userId="S::nscopinaro@minsait.com::eb8d673b-84cc-4b06-b16a-a631b6e7e333" providerId="AD" clId="Web-{767E9032-7BF3-6E5F-3F6C-6458B4A74D68}" dt="2021-07-02T07:52:07.841" v="104"/>
        <pc:sldMkLst>
          <pc:docMk/>
          <pc:sldMk cId="382908099" sldId="564"/>
        </pc:sldMkLst>
      </pc:sldChg>
      <pc:sldChg chg="add del">
        <pc:chgData name="Scopinaro, Nicola" userId="S::nscopinaro@minsait.com::eb8d673b-84cc-4b06-b16a-a631b6e7e333" providerId="AD" clId="Web-{767E9032-7BF3-6E5F-3F6C-6458B4A74D68}" dt="2021-07-02T07:52:07.888" v="105"/>
        <pc:sldMkLst>
          <pc:docMk/>
          <pc:sldMk cId="3325585217" sldId="565"/>
        </pc:sldMkLst>
      </pc:sldChg>
      <pc:sldChg chg="add del">
        <pc:chgData name="Scopinaro, Nicola" userId="S::nscopinaro@minsait.com::eb8d673b-84cc-4b06-b16a-a631b6e7e333" providerId="AD" clId="Web-{767E9032-7BF3-6E5F-3F6C-6458B4A74D68}" dt="2021-07-02T07:52:07.935" v="106"/>
        <pc:sldMkLst>
          <pc:docMk/>
          <pc:sldMk cId="3895139853" sldId="566"/>
        </pc:sldMkLst>
      </pc:sldChg>
      <pc:sldChg chg="add del">
        <pc:chgData name="Scopinaro, Nicola" userId="S::nscopinaro@minsait.com::eb8d673b-84cc-4b06-b16a-a631b6e7e333" providerId="AD" clId="Web-{767E9032-7BF3-6E5F-3F6C-6458B4A74D68}" dt="2021-07-02T07:52:08.013" v="107"/>
        <pc:sldMkLst>
          <pc:docMk/>
          <pc:sldMk cId="2136819944" sldId="567"/>
        </pc:sldMkLst>
      </pc:sldChg>
      <pc:sldChg chg="add del">
        <pc:chgData name="Scopinaro, Nicola" userId="S::nscopinaro@minsait.com::eb8d673b-84cc-4b06-b16a-a631b6e7e333" providerId="AD" clId="Web-{767E9032-7BF3-6E5F-3F6C-6458B4A74D68}" dt="2021-07-02T07:52:05.950" v="66"/>
        <pc:sldMkLst>
          <pc:docMk/>
          <pc:sldMk cId="917060092" sldId="578"/>
        </pc:sldMkLst>
      </pc:sldChg>
      <pc:sldChg chg="add del">
        <pc:chgData name="Scopinaro, Nicola" userId="S::nscopinaro@minsait.com::eb8d673b-84cc-4b06-b16a-a631b6e7e333" providerId="AD" clId="Web-{767E9032-7BF3-6E5F-3F6C-6458B4A74D68}" dt="2021-07-02T07:52:06.106" v="69"/>
        <pc:sldMkLst>
          <pc:docMk/>
          <pc:sldMk cId="257669842" sldId="579"/>
        </pc:sldMkLst>
      </pc:sldChg>
      <pc:sldChg chg="add del">
        <pc:chgData name="Scopinaro, Nicola" userId="S::nscopinaro@minsait.com::eb8d673b-84cc-4b06-b16a-a631b6e7e333" providerId="AD" clId="Web-{767E9032-7BF3-6E5F-3F6C-6458B4A74D68}" dt="2021-07-02T07:52:05.997" v="67"/>
        <pc:sldMkLst>
          <pc:docMk/>
          <pc:sldMk cId="1830915940" sldId="582"/>
        </pc:sldMkLst>
      </pc:sldChg>
      <pc:sldChg chg="add del">
        <pc:chgData name="Scopinaro, Nicola" userId="S::nscopinaro@minsait.com::eb8d673b-84cc-4b06-b16a-a631b6e7e333" providerId="AD" clId="Web-{767E9032-7BF3-6E5F-3F6C-6458B4A74D68}" dt="2021-07-02T07:52:06.044" v="68"/>
        <pc:sldMkLst>
          <pc:docMk/>
          <pc:sldMk cId="2353204195" sldId="583"/>
        </pc:sldMkLst>
      </pc:sldChg>
      <pc:sldChg chg="add del">
        <pc:chgData name="Scopinaro, Nicola" userId="S::nscopinaro@minsait.com::eb8d673b-84cc-4b06-b16a-a631b6e7e333" providerId="AD" clId="Web-{767E9032-7BF3-6E5F-3F6C-6458B4A74D68}" dt="2021-07-02T07:52:06.185" v="71"/>
        <pc:sldMkLst>
          <pc:docMk/>
          <pc:sldMk cId="2961456859" sldId="587"/>
        </pc:sldMkLst>
      </pc:sldChg>
      <pc:sldChg chg="add del">
        <pc:chgData name="Scopinaro, Nicola" userId="S::nscopinaro@minsait.com::eb8d673b-84cc-4b06-b16a-a631b6e7e333" providerId="AD" clId="Web-{767E9032-7BF3-6E5F-3F6C-6458B4A74D68}" dt="2021-07-02T07:52:06.325" v="74"/>
        <pc:sldMkLst>
          <pc:docMk/>
          <pc:sldMk cId="4141634967" sldId="588"/>
        </pc:sldMkLst>
      </pc:sldChg>
      <pc:sldChg chg="add del">
        <pc:chgData name="Scopinaro, Nicola" userId="S::nscopinaro@minsait.com::eb8d673b-84cc-4b06-b16a-a631b6e7e333" providerId="AD" clId="Web-{767E9032-7BF3-6E5F-3F6C-6458B4A74D68}" dt="2021-07-02T07:52:06.294" v="73"/>
        <pc:sldMkLst>
          <pc:docMk/>
          <pc:sldMk cId="1553850916" sldId="589"/>
        </pc:sldMkLst>
      </pc:sldChg>
      <pc:sldChg chg="add del">
        <pc:chgData name="Scopinaro, Nicola" userId="S::nscopinaro@minsait.com::eb8d673b-84cc-4b06-b16a-a631b6e7e333" providerId="AD" clId="Web-{767E9032-7BF3-6E5F-3F6C-6458B4A74D68}" dt="2021-07-02T07:52:06.372" v="75"/>
        <pc:sldMkLst>
          <pc:docMk/>
          <pc:sldMk cId="1747239548" sldId="590"/>
        </pc:sldMkLst>
      </pc:sldChg>
      <pc:sldChg chg="add del">
        <pc:chgData name="Scopinaro, Nicola" userId="S::nscopinaro@minsait.com::eb8d673b-84cc-4b06-b16a-a631b6e7e333" providerId="AD" clId="Web-{767E9032-7BF3-6E5F-3F6C-6458B4A74D68}" dt="2021-07-02T07:52:06.419" v="76"/>
        <pc:sldMkLst>
          <pc:docMk/>
          <pc:sldMk cId="3327681085" sldId="591"/>
        </pc:sldMkLst>
      </pc:sldChg>
      <pc:sldChg chg="add del">
        <pc:chgData name="Scopinaro, Nicola" userId="S::nscopinaro@minsait.com::eb8d673b-84cc-4b06-b16a-a631b6e7e333" providerId="AD" clId="Web-{767E9032-7BF3-6E5F-3F6C-6458B4A74D68}" dt="2021-07-02T07:52:06.466" v="77"/>
        <pc:sldMkLst>
          <pc:docMk/>
          <pc:sldMk cId="3973838248" sldId="592"/>
        </pc:sldMkLst>
      </pc:sldChg>
      <pc:sldChg chg="add del">
        <pc:chgData name="Scopinaro, Nicola" userId="S::nscopinaro@minsait.com::eb8d673b-84cc-4b06-b16a-a631b6e7e333" providerId="AD" clId="Web-{767E9032-7BF3-6E5F-3F6C-6458B4A74D68}" dt="2021-07-02T07:52:06.513" v="78"/>
        <pc:sldMkLst>
          <pc:docMk/>
          <pc:sldMk cId="1513610426" sldId="593"/>
        </pc:sldMkLst>
      </pc:sldChg>
      <pc:sldChg chg="add del">
        <pc:chgData name="Scopinaro, Nicola" userId="S::nscopinaro@minsait.com::eb8d673b-84cc-4b06-b16a-a631b6e7e333" providerId="AD" clId="Web-{767E9032-7BF3-6E5F-3F6C-6458B4A74D68}" dt="2021-07-02T07:52:06.606" v="80"/>
        <pc:sldMkLst>
          <pc:docMk/>
          <pc:sldMk cId="1245945607" sldId="594"/>
        </pc:sldMkLst>
      </pc:sldChg>
      <pc:sldChg chg="add del">
        <pc:chgData name="Scopinaro, Nicola" userId="S::nscopinaro@minsait.com::eb8d673b-84cc-4b06-b16a-a631b6e7e333" providerId="AD" clId="Web-{767E9032-7BF3-6E5F-3F6C-6458B4A74D68}" dt="2021-07-02T07:52:06.685" v="82"/>
        <pc:sldMkLst>
          <pc:docMk/>
          <pc:sldMk cId="2363896498" sldId="595"/>
        </pc:sldMkLst>
      </pc:sldChg>
      <pc:sldChg chg="add del">
        <pc:chgData name="Scopinaro, Nicola" userId="S::nscopinaro@minsait.com::eb8d673b-84cc-4b06-b16a-a631b6e7e333" providerId="AD" clId="Web-{767E9032-7BF3-6E5F-3F6C-6458B4A74D68}" dt="2021-07-02T07:52:06.747" v="83"/>
        <pc:sldMkLst>
          <pc:docMk/>
          <pc:sldMk cId="1741233139" sldId="596"/>
        </pc:sldMkLst>
      </pc:sldChg>
      <pc:sldChg chg="add del">
        <pc:chgData name="Scopinaro, Nicola" userId="S::nscopinaro@minsait.com::eb8d673b-84cc-4b06-b16a-a631b6e7e333" providerId="AD" clId="Web-{767E9032-7BF3-6E5F-3F6C-6458B4A74D68}" dt="2021-07-02T07:52:06.794" v="84"/>
        <pc:sldMkLst>
          <pc:docMk/>
          <pc:sldMk cId="1094978825" sldId="597"/>
        </pc:sldMkLst>
      </pc:sldChg>
      <pc:sldChg chg="add del">
        <pc:chgData name="Scopinaro, Nicola" userId="S::nscopinaro@minsait.com::eb8d673b-84cc-4b06-b16a-a631b6e7e333" providerId="AD" clId="Web-{767E9032-7BF3-6E5F-3F6C-6458B4A74D68}" dt="2021-07-02T07:52:06.856" v="85"/>
        <pc:sldMkLst>
          <pc:docMk/>
          <pc:sldMk cId="403538493" sldId="598"/>
        </pc:sldMkLst>
      </pc:sldChg>
      <pc:sldChg chg="add del">
        <pc:chgData name="Scopinaro, Nicola" userId="S::nscopinaro@minsait.com::eb8d673b-84cc-4b06-b16a-a631b6e7e333" providerId="AD" clId="Web-{767E9032-7BF3-6E5F-3F6C-6458B4A74D68}" dt="2021-07-02T07:52:42.623" v="112"/>
        <pc:sldMkLst>
          <pc:docMk/>
          <pc:sldMk cId="1619962992" sldId="599"/>
        </pc:sldMkLst>
      </pc:sldChg>
      <pc:sldChg chg="add del">
        <pc:chgData name="Scopinaro, Nicola" userId="S::nscopinaro@minsait.com::eb8d673b-84cc-4b06-b16a-a631b6e7e333" providerId="AD" clId="Web-{767E9032-7BF3-6E5F-3F6C-6458B4A74D68}" dt="2021-07-02T07:52:42.670" v="113"/>
        <pc:sldMkLst>
          <pc:docMk/>
          <pc:sldMk cId="3534365666" sldId="600"/>
        </pc:sldMkLst>
      </pc:sldChg>
      <pc:sldChg chg="add del">
        <pc:chgData name="Scopinaro, Nicola" userId="S::nscopinaro@minsait.com::eb8d673b-84cc-4b06-b16a-a631b6e7e333" providerId="AD" clId="Web-{767E9032-7BF3-6E5F-3F6C-6458B4A74D68}" dt="2021-07-02T07:52:43.107" v="117"/>
        <pc:sldMkLst>
          <pc:docMk/>
          <pc:sldMk cId="1697594711" sldId="601"/>
        </pc:sldMkLst>
      </pc:sldChg>
      <pc:sldChg chg="add del">
        <pc:chgData name="Scopinaro, Nicola" userId="S::nscopinaro@minsait.com::eb8d673b-84cc-4b06-b16a-a631b6e7e333" providerId="AD" clId="Web-{767E9032-7BF3-6E5F-3F6C-6458B4A74D68}" dt="2021-07-02T07:52:06.153" v="70"/>
        <pc:sldMkLst>
          <pc:docMk/>
          <pc:sldMk cId="2718117269" sldId="602"/>
        </pc:sldMkLst>
      </pc:sldChg>
      <pc:sldChg chg="add del">
        <pc:chgData name="Scopinaro, Nicola" userId="S::nscopinaro@minsait.com::eb8d673b-84cc-4b06-b16a-a631b6e7e333" providerId="AD" clId="Web-{767E9032-7BF3-6E5F-3F6C-6458B4A74D68}" dt="2021-07-02T07:52:06.560" v="79"/>
        <pc:sldMkLst>
          <pc:docMk/>
          <pc:sldMk cId="4230758089" sldId="603"/>
        </pc:sldMkLst>
      </pc:sldChg>
      <pc:sldChg chg="add del">
        <pc:chgData name="Scopinaro, Nicola" userId="S::nscopinaro@minsait.com::eb8d673b-84cc-4b06-b16a-a631b6e7e333" providerId="AD" clId="Web-{767E9032-7BF3-6E5F-3F6C-6458B4A74D68}" dt="2021-07-02T07:52:06.263" v="72"/>
        <pc:sldMkLst>
          <pc:docMk/>
          <pc:sldMk cId="1831081099" sldId="604"/>
        </pc:sldMkLst>
      </pc:sldChg>
      <pc:sldChg chg="add del">
        <pc:chgData name="Scopinaro, Nicola" userId="S::nscopinaro@minsait.com::eb8d673b-84cc-4b06-b16a-a631b6e7e333" providerId="AD" clId="Web-{767E9032-7BF3-6E5F-3F6C-6458B4A74D68}" dt="2021-07-02T07:52:06.669" v="81"/>
        <pc:sldMkLst>
          <pc:docMk/>
          <pc:sldMk cId="313998149" sldId="605"/>
        </pc:sldMkLst>
      </pc:sldChg>
      <pc:sldChg chg="add del">
        <pc:chgData name="Scopinaro, Nicola" userId="S::nscopinaro@minsait.com::eb8d673b-84cc-4b06-b16a-a631b6e7e333" providerId="AD" clId="Web-{767E9032-7BF3-6E5F-3F6C-6458B4A74D68}" dt="2021-07-02T07:52:42.732" v="114"/>
        <pc:sldMkLst>
          <pc:docMk/>
          <pc:sldMk cId="2651766550" sldId="606"/>
        </pc:sldMkLst>
      </pc:sldChg>
      <pc:sldChg chg="add del">
        <pc:chgData name="Scopinaro, Nicola" userId="S::nscopinaro@minsait.com::eb8d673b-84cc-4b06-b16a-a631b6e7e333" providerId="AD" clId="Web-{767E9032-7BF3-6E5F-3F6C-6458B4A74D68}" dt="2021-07-02T07:52:42.810" v="115"/>
        <pc:sldMkLst>
          <pc:docMk/>
          <pc:sldMk cId="1745711042" sldId="607"/>
        </pc:sldMkLst>
      </pc:sldChg>
      <pc:sldChg chg="add del">
        <pc:chgData name="Scopinaro, Nicola" userId="S::nscopinaro@minsait.com::eb8d673b-84cc-4b06-b16a-a631b6e7e333" providerId="AD" clId="Web-{767E9032-7BF3-6E5F-3F6C-6458B4A74D68}" dt="2021-07-02T07:52:42.951" v="116"/>
        <pc:sldMkLst>
          <pc:docMk/>
          <pc:sldMk cId="1891778694" sldId="608"/>
        </pc:sldMkLst>
      </pc:sldChg>
      <pc:sldChg chg="add del">
        <pc:chgData name="Scopinaro, Nicola" userId="S::nscopinaro@minsait.com::eb8d673b-84cc-4b06-b16a-a631b6e7e333" providerId="AD" clId="Web-{767E9032-7BF3-6E5F-3F6C-6458B4A74D68}" dt="2021-07-02T07:52:43.185" v="118"/>
        <pc:sldMkLst>
          <pc:docMk/>
          <pc:sldMk cId="4098976531" sldId="609"/>
        </pc:sldMkLst>
      </pc:sldChg>
      <pc:sldChg chg="add del">
        <pc:chgData name="Scopinaro, Nicola" userId="S::nscopinaro@minsait.com::eb8d673b-84cc-4b06-b16a-a631b6e7e333" providerId="AD" clId="Web-{767E9032-7BF3-6E5F-3F6C-6458B4A74D68}" dt="2021-07-02T07:52:43.357" v="121"/>
        <pc:sldMkLst>
          <pc:docMk/>
          <pc:sldMk cId="2435882164" sldId="611"/>
        </pc:sldMkLst>
      </pc:sldChg>
      <pc:sldChg chg="add del">
        <pc:chgData name="Scopinaro, Nicola" userId="S::nscopinaro@minsait.com::eb8d673b-84cc-4b06-b16a-a631b6e7e333" providerId="AD" clId="Web-{767E9032-7BF3-6E5F-3F6C-6458B4A74D68}" dt="2021-07-02T07:52:43.279" v="120"/>
        <pc:sldMkLst>
          <pc:docMk/>
          <pc:sldMk cId="3714426333" sldId="612"/>
        </pc:sldMkLst>
      </pc:sldChg>
      <pc:sldChg chg="add del">
        <pc:chgData name="Scopinaro, Nicola" userId="S::nscopinaro@minsait.com::eb8d673b-84cc-4b06-b16a-a631b6e7e333" providerId="AD" clId="Web-{767E9032-7BF3-6E5F-3F6C-6458B4A74D68}" dt="2021-07-02T07:52:43.420" v="122"/>
        <pc:sldMkLst>
          <pc:docMk/>
          <pc:sldMk cId="2090939267" sldId="616"/>
        </pc:sldMkLst>
      </pc:sldChg>
      <pc:sldChg chg="add del">
        <pc:chgData name="Scopinaro, Nicola" userId="S::nscopinaro@minsait.com::eb8d673b-84cc-4b06-b16a-a631b6e7e333" providerId="AD" clId="Web-{767E9032-7BF3-6E5F-3F6C-6458B4A74D68}" dt="2021-07-02T07:52:43.451" v="123"/>
        <pc:sldMkLst>
          <pc:docMk/>
          <pc:sldMk cId="1897668903" sldId="617"/>
        </pc:sldMkLst>
      </pc:sldChg>
      <pc:sldChg chg="add del">
        <pc:chgData name="Scopinaro, Nicola" userId="S::nscopinaro@minsait.com::eb8d673b-84cc-4b06-b16a-a631b6e7e333" providerId="AD" clId="Web-{767E9032-7BF3-6E5F-3F6C-6458B4A74D68}" dt="2021-07-02T07:52:43.498" v="124"/>
        <pc:sldMkLst>
          <pc:docMk/>
          <pc:sldMk cId="2859097251" sldId="618"/>
        </pc:sldMkLst>
      </pc:sldChg>
      <pc:sldChg chg="add del">
        <pc:chgData name="Scopinaro, Nicola" userId="S::nscopinaro@minsait.com::eb8d673b-84cc-4b06-b16a-a631b6e7e333" providerId="AD" clId="Web-{767E9032-7BF3-6E5F-3F6C-6458B4A74D68}" dt="2021-07-02T07:52:43.560" v="125"/>
        <pc:sldMkLst>
          <pc:docMk/>
          <pc:sldMk cId="2618846373" sldId="619"/>
        </pc:sldMkLst>
      </pc:sldChg>
      <pc:sldChg chg="add del">
        <pc:chgData name="Scopinaro, Nicola" userId="S::nscopinaro@minsait.com::eb8d673b-84cc-4b06-b16a-a631b6e7e333" providerId="AD" clId="Web-{767E9032-7BF3-6E5F-3F6C-6458B4A74D68}" dt="2021-07-02T07:52:43.607" v="126"/>
        <pc:sldMkLst>
          <pc:docMk/>
          <pc:sldMk cId="402441371" sldId="620"/>
        </pc:sldMkLst>
      </pc:sldChg>
      <pc:sldChg chg="add del">
        <pc:chgData name="Scopinaro, Nicola" userId="S::nscopinaro@minsait.com::eb8d673b-84cc-4b06-b16a-a631b6e7e333" providerId="AD" clId="Web-{767E9032-7BF3-6E5F-3F6C-6458B4A74D68}" dt="2021-07-02T07:52:43.779" v="128"/>
        <pc:sldMkLst>
          <pc:docMk/>
          <pc:sldMk cId="4202405635" sldId="621"/>
        </pc:sldMkLst>
      </pc:sldChg>
      <pc:sldChg chg="add del">
        <pc:chgData name="Scopinaro, Nicola" userId="S::nscopinaro@minsait.com::eb8d673b-84cc-4b06-b16a-a631b6e7e333" providerId="AD" clId="Web-{767E9032-7BF3-6E5F-3F6C-6458B4A74D68}" dt="2021-07-02T07:52:43.873" v="129"/>
        <pc:sldMkLst>
          <pc:docMk/>
          <pc:sldMk cId="463088015" sldId="622"/>
        </pc:sldMkLst>
      </pc:sldChg>
      <pc:sldChg chg="add del">
        <pc:chgData name="Scopinaro, Nicola" userId="S::nscopinaro@minsait.com::eb8d673b-84cc-4b06-b16a-a631b6e7e333" providerId="AD" clId="Web-{767E9032-7BF3-6E5F-3F6C-6458B4A74D68}" dt="2021-07-02T07:52:43.701" v="127"/>
        <pc:sldMkLst>
          <pc:docMk/>
          <pc:sldMk cId="2394393290" sldId="623"/>
        </pc:sldMkLst>
      </pc:sldChg>
      <pc:sldChg chg="add del">
        <pc:chgData name="Scopinaro, Nicola" userId="S::nscopinaro@minsait.com::eb8d673b-84cc-4b06-b16a-a631b6e7e333" providerId="AD" clId="Web-{767E9032-7BF3-6E5F-3F6C-6458B4A74D68}" dt="2021-07-02T07:52:07.482" v="98"/>
        <pc:sldMkLst>
          <pc:docMk/>
          <pc:sldMk cId="4100931440" sldId="625"/>
        </pc:sldMkLst>
      </pc:sldChg>
      <pc:sldChg chg="add del">
        <pc:chgData name="Scopinaro, Nicola" userId="S::nscopinaro@minsait.com::eb8d673b-84cc-4b06-b16a-a631b6e7e333" providerId="AD" clId="Web-{767E9032-7BF3-6E5F-3F6C-6458B4A74D68}" dt="2021-07-02T07:52:07.544" v="99"/>
        <pc:sldMkLst>
          <pc:docMk/>
          <pc:sldMk cId="586814110" sldId="626"/>
        </pc:sldMkLst>
      </pc:sldChg>
      <pc:sldChg chg="add del">
        <pc:chgData name="Scopinaro, Nicola" userId="S::nscopinaro@minsait.com::eb8d673b-84cc-4b06-b16a-a631b6e7e333" providerId="AD" clId="Web-{767E9032-7BF3-6E5F-3F6C-6458B4A74D68}" dt="2021-07-02T07:52:08.060" v="108"/>
        <pc:sldMkLst>
          <pc:docMk/>
          <pc:sldMk cId="4050184933" sldId="627"/>
        </pc:sldMkLst>
      </pc:sldChg>
      <pc:sldChg chg="add del">
        <pc:chgData name="Scopinaro, Nicola" userId="S::nscopinaro@minsait.com::eb8d673b-84cc-4b06-b16a-a631b6e7e333" providerId="AD" clId="Web-{767E9032-7BF3-6E5F-3F6C-6458B4A74D68}" dt="2021-07-02T07:52:08.263" v="111"/>
        <pc:sldMkLst>
          <pc:docMk/>
          <pc:sldMk cId="3592656573" sldId="628"/>
        </pc:sldMkLst>
      </pc:sldChg>
    </pc:docChg>
  </pc:docChgLst>
  <pc:docChgLst>
    <pc:chgData name="Contursi, Massimo" userId="S::mcontursi@minsait.com::c11fe434-fa63-4734-8d01-c2285712721e" providerId="AD" clId="Web-{2B1B45CD-5C9A-4FA7-8F94-B3CC640E8BBB}"/>
    <pc:docChg chg="addSld modSld sldOrd">
      <pc:chgData name="Contursi, Massimo" userId="S::mcontursi@minsait.com::c11fe434-fa63-4734-8d01-c2285712721e" providerId="AD" clId="Web-{2B1B45CD-5C9A-4FA7-8F94-B3CC640E8BBB}" dt="2021-06-24T13:13:28.145" v="413"/>
      <pc:docMkLst>
        <pc:docMk/>
      </pc:docMkLst>
      <pc:sldChg chg="addSp delSp modSp">
        <pc:chgData name="Contursi, Massimo" userId="S::mcontursi@minsait.com::c11fe434-fa63-4734-8d01-c2285712721e" providerId="AD" clId="Web-{2B1B45CD-5C9A-4FA7-8F94-B3CC640E8BBB}" dt="2021-06-24T12:38:55.672" v="108"/>
        <pc:sldMkLst>
          <pc:docMk/>
          <pc:sldMk cId="3120704213" sldId="637"/>
        </pc:sldMkLst>
        <pc:spChg chg="mod">
          <ac:chgData name="Contursi, Massimo" userId="S::mcontursi@minsait.com::c11fe434-fa63-4734-8d01-c2285712721e" providerId="AD" clId="Web-{2B1B45CD-5C9A-4FA7-8F94-B3CC640E8BBB}" dt="2021-06-24T12:38:23.638" v="102" actId="20577"/>
          <ac:spMkLst>
            <pc:docMk/>
            <pc:sldMk cId="3120704213" sldId="637"/>
            <ac:spMk id="4" creationId="{00000000-0000-0000-0000-000000000000}"/>
          </ac:spMkLst>
        </pc:spChg>
        <pc:picChg chg="add del mod">
          <ac:chgData name="Contursi, Massimo" userId="S::mcontursi@minsait.com::c11fe434-fa63-4734-8d01-c2285712721e" providerId="AD" clId="Web-{2B1B45CD-5C9A-4FA7-8F94-B3CC640E8BBB}" dt="2021-06-24T12:38:55.672" v="108"/>
          <ac:picMkLst>
            <pc:docMk/>
            <pc:sldMk cId="3120704213" sldId="637"/>
            <ac:picMk id="7" creationId="{083603F5-C84B-4D3A-9021-C8C756792C62}"/>
          </ac:picMkLst>
        </pc:picChg>
      </pc:sldChg>
      <pc:sldChg chg="modSp ord">
        <pc:chgData name="Contursi, Massimo" userId="S::mcontursi@minsait.com::c11fe434-fa63-4734-8d01-c2285712721e" providerId="AD" clId="Web-{2B1B45CD-5C9A-4FA7-8F94-B3CC640E8BBB}" dt="2021-06-24T12:58:40.085" v="248" actId="20577"/>
        <pc:sldMkLst>
          <pc:docMk/>
          <pc:sldMk cId="3313180289" sldId="644"/>
        </pc:sldMkLst>
        <pc:spChg chg="mod">
          <ac:chgData name="Contursi, Massimo" userId="S::mcontursi@minsait.com::c11fe434-fa63-4734-8d01-c2285712721e" providerId="AD" clId="Web-{2B1B45CD-5C9A-4FA7-8F94-B3CC640E8BBB}" dt="2021-06-24T12:58:40.085" v="248" actId="20577"/>
          <ac:spMkLst>
            <pc:docMk/>
            <pc:sldMk cId="3313180289" sldId="644"/>
            <ac:spMk id="15" creationId="{00000000-0000-0000-0000-000000000000}"/>
          </ac:spMkLst>
        </pc:spChg>
      </pc:sldChg>
      <pc:sldChg chg="addSp modSp new">
        <pc:chgData name="Contursi, Massimo" userId="S::mcontursi@minsait.com::c11fe434-fa63-4734-8d01-c2285712721e" providerId="AD" clId="Web-{2B1B45CD-5C9A-4FA7-8F94-B3CC640E8BBB}" dt="2021-06-24T12:39:14.423" v="115" actId="1076"/>
        <pc:sldMkLst>
          <pc:docMk/>
          <pc:sldMk cId="3777044045" sldId="646"/>
        </pc:sldMkLst>
        <pc:spChg chg="mod">
          <ac:chgData name="Contursi, Massimo" userId="S::mcontursi@minsait.com::c11fe434-fa63-4734-8d01-c2285712721e" providerId="AD" clId="Web-{2B1B45CD-5C9A-4FA7-8F94-B3CC640E8BBB}" dt="2021-06-24T12:29:38.421" v="5" actId="20577"/>
          <ac:spMkLst>
            <pc:docMk/>
            <pc:sldMk cId="3777044045" sldId="646"/>
            <ac:spMk id="2" creationId="{5795CE78-A8E6-4435-A62B-27E9C713C7A0}"/>
          </ac:spMkLst>
        </pc:spChg>
        <pc:spChg chg="mod">
          <ac:chgData name="Contursi, Massimo" userId="S::mcontursi@minsait.com::c11fe434-fa63-4734-8d01-c2285712721e" providerId="AD" clId="Web-{2B1B45CD-5C9A-4FA7-8F94-B3CC640E8BBB}" dt="2021-06-24T12:29:38.390" v="4" actId="20577"/>
          <ac:spMkLst>
            <pc:docMk/>
            <pc:sldMk cId="3777044045" sldId="646"/>
            <ac:spMk id="3" creationId="{310F2569-3E58-41DC-A95C-87AF89734BBB}"/>
          </ac:spMkLst>
        </pc:spChg>
        <pc:spChg chg="add mod">
          <ac:chgData name="Contursi, Massimo" userId="S::mcontursi@minsait.com::c11fe434-fa63-4734-8d01-c2285712721e" providerId="AD" clId="Web-{2B1B45CD-5C9A-4FA7-8F94-B3CC640E8BBB}" dt="2021-06-24T12:39:05.126" v="113" actId="1076"/>
          <ac:spMkLst>
            <pc:docMk/>
            <pc:sldMk cId="3777044045" sldId="646"/>
            <ac:spMk id="4" creationId="{55576301-1E49-4844-817F-42294F33905E}"/>
          </ac:spMkLst>
        </pc:spChg>
        <pc:picChg chg="add mod">
          <ac:chgData name="Contursi, Massimo" userId="S::mcontursi@minsait.com::c11fe434-fa63-4734-8d01-c2285712721e" providerId="AD" clId="Web-{2B1B45CD-5C9A-4FA7-8F94-B3CC640E8BBB}" dt="2021-06-24T12:39:14.423" v="115" actId="1076"/>
          <ac:picMkLst>
            <pc:docMk/>
            <pc:sldMk cId="3777044045" sldId="646"/>
            <ac:picMk id="5" creationId="{6BD38683-E078-42CF-890A-2410903A254C}"/>
          </ac:picMkLst>
        </pc:picChg>
      </pc:sldChg>
      <pc:sldChg chg="modSp add">
        <pc:chgData name="Contursi, Massimo" userId="S::mcontursi@minsait.com::c11fe434-fa63-4734-8d01-c2285712721e" providerId="AD" clId="Web-{2B1B45CD-5C9A-4FA7-8F94-B3CC640E8BBB}" dt="2021-06-24T12:35:15.653" v="91" actId="14100"/>
        <pc:sldMkLst>
          <pc:docMk/>
          <pc:sldMk cId="4113348526" sldId="647"/>
        </pc:sldMkLst>
        <pc:spChg chg="mod">
          <ac:chgData name="Contursi, Massimo" userId="S::mcontursi@minsait.com::c11fe434-fa63-4734-8d01-c2285712721e" providerId="AD" clId="Web-{2B1B45CD-5C9A-4FA7-8F94-B3CC640E8BBB}" dt="2021-06-24T12:35:15.653" v="91" actId="14100"/>
          <ac:spMkLst>
            <pc:docMk/>
            <pc:sldMk cId="4113348526" sldId="647"/>
            <ac:spMk id="4" creationId="{00000000-0000-0000-0000-000000000000}"/>
          </ac:spMkLst>
        </pc:spChg>
        <pc:spChg chg="mod">
          <ac:chgData name="Contursi, Massimo" userId="S::mcontursi@minsait.com::c11fe434-fa63-4734-8d01-c2285712721e" providerId="AD" clId="Web-{2B1B45CD-5C9A-4FA7-8F94-B3CC640E8BBB}" dt="2021-06-24T12:33:10.361" v="55" actId="14100"/>
          <ac:spMkLst>
            <pc:docMk/>
            <pc:sldMk cId="4113348526" sldId="647"/>
            <ac:spMk id="9" creationId="{92C4D6DD-881B-984A-9C92-27BA5BC27568}"/>
          </ac:spMkLst>
        </pc:spChg>
      </pc:sldChg>
      <pc:sldChg chg="addSp modSp add replId">
        <pc:chgData name="Contursi, Massimo" userId="S::mcontursi@minsait.com::c11fe434-fa63-4734-8d01-c2285712721e" providerId="AD" clId="Web-{2B1B45CD-5C9A-4FA7-8F94-B3CC640E8BBB}" dt="2021-06-24T12:54:28.548" v="220" actId="1076"/>
        <pc:sldMkLst>
          <pc:docMk/>
          <pc:sldMk cId="1411918635" sldId="648"/>
        </pc:sldMkLst>
        <pc:spChg chg="mod">
          <ac:chgData name="Contursi, Massimo" userId="S::mcontursi@minsait.com::c11fe434-fa63-4734-8d01-c2285712721e" providerId="AD" clId="Web-{2B1B45CD-5C9A-4FA7-8F94-B3CC640E8BBB}" dt="2021-06-24T12:50:46.592" v="216" actId="20577"/>
          <ac:spMkLst>
            <pc:docMk/>
            <pc:sldMk cId="1411918635" sldId="648"/>
            <ac:spMk id="4" creationId="{00000000-0000-0000-0000-000000000000}"/>
          </ac:spMkLst>
        </pc:spChg>
        <pc:spChg chg="mod">
          <ac:chgData name="Contursi, Massimo" userId="S::mcontursi@minsait.com::c11fe434-fa63-4734-8d01-c2285712721e" providerId="AD" clId="Web-{2B1B45CD-5C9A-4FA7-8F94-B3CC640E8BBB}" dt="2021-06-24T12:42:48.254" v="118" actId="20577"/>
          <ac:spMkLst>
            <pc:docMk/>
            <pc:sldMk cId="1411918635" sldId="648"/>
            <ac:spMk id="9" creationId="{92C4D6DD-881B-984A-9C92-27BA5BC27568}"/>
          </ac:spMkLst>
        </pc:spChg>
        <pc:picChg chg="add mod">
          <ac:chgData name="Contursi, Massimo" userId="S::mcontursi@minsait.com::c11fe434-fa63-4734-8d01-c2285712721e" providerId="AD" clId="Web-{2B1B45CD-5C9A-4FA7-8F94-B3CC640E8BBB}" dt="2021-06-24T12:54:28.548" v="220" actId="1076"/>
          <ac:picMkLst>
            <pc:docMk/>
            <pc:sldMk cId="1411918635" sldId="648"/>
            <ac:picMk id="7" creationId="{C86EA3FB-D518-42EE-A585-C7E99CD0CF1A}"/>
          </ac:picMkLst>
        </pc:picChg>
      </pc:sldChg>
      <pc:sldChg chg="addSp modSp add replId">
        <pc:chgData name="Contursi, Massimo" userId="S::mcontursi@minsait.com::c11fe434-fa63-4734-8d01-c2285712721e" providerId="AD" clId="Web-{2B1B45CD-5C9A-4FA7-8F94-B3CC640E8BBB}" dt="2021-06-24T13:10:00.331" v="384" actId="20577"/>
        <pc:sldMkLst>
          <pc:docMk/>
          <pc:sldMk cId="2622516054" sldId="649"/>
        </pc:sldMkLst>
        <pc:spChg chg="mod">
          <ac:chgData name="Contursi, Massimo" userId="S::mcontursi@minsait.com::c11fe434-fa63-4734-8d01-c2285712721e" providerId="AD" clId="Web-{2B1B45CD-5C9A-4FA7-8F94-B3CC640E8BBB}" dt="2021-06-24T13:10:00.331" v="384" actId="20577"/>
          <ac:spMkLst>
            <pc:docMk/>
            <pc:sldMk cId="2622516054" sldId="649"/>
            <ac:spMk id="4" creationId="{00000000-0000-0000-0000-000000000000}"/>
          </ac:spMkLst>
        </pc:spChg>
        <pc:spChg chg="mod">
          <ac:chgData name="Contursi, Massimo" userId="S::mcontursi@minsait.com::c11fe434-fa63-4734-8d01-c2285712721e" providerId="AD" clId="Web-{2B1B45CD-5C9A-4FA7-8F94-B3CC640E8BBB}" dt="2021-06-24T13:07:19.567" v="355" actId="20577"/>
          <ac:spMkLst>
            <pc:docMk/>
            <pc:sldMk cId="2622516054" sldId="649"/>
            <ac:spMk id="9" creationId="{92C4D6DD-881B-984A-9C92-27BA5BC27568}"/>
          </ac:spMkLst>
        </pc:spChg>
        <pc:picChg chg="add mod">
          <ac:chgData name="Contursi, Massimo" userId="S::mcontursi@minsait.com::c11fe434-fa63-4734-8d01-c2285712721e" providerId="AD" clId="Web-{2B1B45CD-5C9A-4FA7-8F94-B3CC640E8BBB}" dt="2021-06-24T13:08:55.184" v="375" actId="1076"/>
          <ac:picMkLst>
            <pc:docMk/>
            <pc:sldMk cId="2622516054" sldId="649"/>
            <ac:picMk id="7" creationId="{1BF0F1F2-7DDE-459B-9933-B0D5FD8A3079}"/>
          </ac:picMkLst>
        </pc:picChg>
      </pc:sldChg>
      <pc:sldChg chg="modSp add replId">
        <pc:chgData name="Contursi, Massimo" userId="S::mcontursi@minsait.com::c11fe434-fa63-4734-8d01-c2285712721e" providerId="AD" clId="Web-{2B1B45CD-5C9A-4FA7-8F94-B3CC640E8BBB}" dt="2021-06-24T13:11:08.290" v="403" actId="20577"/>
        <pc:sldMkLst>
          <pc:docMk/>
          <pc:sldMk cId="1389787548" sldId="650"/>
        </pc:sldMkLst>
        <pc:spChg chg="mod">
          <ac:chgData name="Contursi, Massimo" userId="S::mcontursi@minsait.com::c11fe434-fa63-4734-8d01-c2285712721e" providerId="AD" clId="Web-{2B1B45CD-5C9A-4FA7-8F94-B3CC640E8BBB}" dt="2021-06-24T13:11:08.290" v="403" actId="20577"/>
          <ac:spMkLst>
            <pc:docMk/>
            <pc:sldMk cId="1389787548" sldId="650"/>
            <ac:spMk id="4" creationId="{00000000-0000-0000-0000-000000000000}"/>
          </ac:spMkLst>
        </pc:spChg>
        <pc:spChg chg="mod">
          <ac:chgData name="Contursi, Massimo" userId="S::mcontursi@minsait.com::c11fe434-fa63-4734-8d01-c2285712721e" providerId="AD" clId="Web-{2B1B45CD-5C9A-4FA7-8F94-B3CC640E8BBB}" dt="2021-06-24T13:09:43.517" v="379" actId="20577"/>
          <ac:spMkLst>
            <pc:docMk/>
            <pc:sldMk cId="1389787548" sldId="650"/>
            <ac:spMk id="9" creationId="{92C4D6DD-881B-984A-9C92-27BA5BC27568}"/>
          </ac:spMkLst>
        </pc:spChg>
      </pc:sldChg>
      <pc:sldChg chg="modSp add replId">
        <pc:chgData name="Contursi, Massimo" userId="S::mcontursi@minsait.com::c11fe434-fa63-4734-8d01-c2285712721e" providerId="AD" clId="Web-{2B1B45CD-5C9A-4FA7-8F94-B3CC640E8BBB}" dt="2021-06-24T13:04:46.241" v="354" actId="1076"/>
        <pc:sldMkLst>
          <pc:docMk/>
          <pc:sldMk cId="3201725970" sldId="651"/>
        </pc:sldMkLst>
        <pc:spChg chg="mod">
          <ac:chgData name="Contursi, Massimo" userId="S::mcontursi@minsait.com::c11fe434-fa63-4734-8d01-c2285712721e" providerId="AD" clId="Web-{2B1B45CD-5C9A-4FA7-8F94-B3CC640E8BBB}" dt="2021-06-24T13:03:19.531" v="328" actId="20577"/>
          <ac:spMkLst>
            <pc:docMk/>
            <pc:sldMk cId="3201725970" sldId="651"/>
            <ac:spMk id="9" creationId="{92C4D6DD-881B-984A-9C92-27BA5BC27568}"/>
          </ac:spMkLst>
        </pc:spChg>
        <pc:spChg chg="mod">
          <ac:chgData name="Contursi, Massimo" userId="S::mcontursi@minsait.com::c11fe434-fa63-4734-8d01-c2285712721e" providerId="AD" clId="Web-{2B1B45CD-5C9A-4FA7-8F94-B3CC640E8BBB}" dt="2021-06-24T13:04:46.241" v="354" actId="1076"/>
          <ac:spMkLst>
            <pc:docMk/>
            <pc:sldMk cId="3201725970" sldId="651"/>
            <ac:spMk id="15" creationId="{00000000-0000-0000-0000-000000000000}"/>
          </ac:spMkLst>
        </pc:spChg>
      </pc:sldChg>
      <pc:sldChg chg="addSp modSp add replId">
        <pc:chgData name="Contursi, Massimo" userId="S::mcontursi@minsait.com::c11fe434-fa63-4734-8d01-c2285712721e" providerId="AD" clId="Web-{2B1B45CD-5C9A-4FA7-8F94-B3CC640E8BBB}" dt="2021-06-24T13:03:01.217" v="324" actId="20577"/>
        <pc:sldMkLst>
          <pc:docMk/>
          <pc:sldMk cId="4088766056" sldId="652"/>
        </pc:sldMkLst>
        <pc:spChg chg="add mod">
          <ac:chgData name="Contursi, Massimo" userId="S::mcontursi@minsait.com::c11fe434-fa63-4734-8d01-c2285712721e" providerId="AD" clId="Web-{2B1B45CD-5C9A-4FA7-8F94-B3CC640E8BBB}" dt="2021-06-24T13:03:01.217" v="324" actId="20577"/>
          <ac:spMkLst>
            <pc:docMk/>
            <pc:sldMk cId="4088766056" sldId="652"/>
            <ac:spMk id="4" creationId="{CE67A089-DD13-48A2-9B58-D091ACAE8460}"/>
          </ac:spMkLst>
        </pc:spChg>
        <pc:spChg chg="mod">
          <ac:chgData name="Contursi, Massimo" userId="S::mcontursi@minsait.com::c11fe434-fa63-4734-8d01-c2285712721e" providerId="AD" clId="Web-{2B1B45CD-5C9A-4FA7-8F94-B3CC640E8BBB}" dt="2021-06-24T13:02:27.073" v="311" actId="20577"/>
          <ac:spMkLst>
            <pc:docMk/>
            <pc:sldMk cId="4088766056" sldId="652"/>
            <ac:spMk id="9" creationId="{92C4D6DD-881B-984A-9C92-27BA5BC27568}"/>
          </ac:spMkLst>
        </pc:spChg>
        <pc:spChg chg="mod">
          <ac:chgData name="Contursi, Massimo" userId="S::mcontursi@minsait.com::c11fe434-fa63-4734-8d01-c2285712721e" providerId="AD" clId="Web-{2B1B45CD-5C9A-4FA7-8F94-B3CC640E8BBB}" dt="2021-06-24T13:00:31.298" v="265" actId="20577"/>
          <ac:spMkLst>
            <pc:docMk/>
            <pc:sldMk cId="4088766056" sldId="652"/>
            <ac:spMk id="15" creationId="{00000000-0000-0000-0000-000000000000}"/>
          </ac:spMkLst>
        </pc:spChg>
      </pc:sldChg>
      <pc:sldChg chg="addSp modSp add replId">
        <pc:chgData name="Contursi, Massimo" userId="S::mcontursi@minsait.com::c11fe434-fa63-4734-8d01-c2285712721e" providerId="AD" clId="Web-{2B1B45CD-5C9A-4FA7-8F94-B3CC640E8BBB}" dt="2021-06-24T13:11:59.419" v="411" actId="1076"/>
        <pc:sldMkLst>
          <pc:docMk/>
          <pc:sldMk cId="3152649728" sldId="653"/>
        </pc:sldMkLst>
        <pc:spChg chg="mod">
          <ac:chgData name="Contursi, Massimo" userId="S::mcontursi@minsait.com::c11fe434-fa63-4734-8d01-c2285712721e" providerId="AD" clId="Web-{2B1B45CD-5C9A-4FA7-8F94-B3CC640E8BBB}" dt="2021-06-24T13:11:49.418" v="406" actId="20577"/>
          <ac:spMkLst>
            <pc:docMk/>
            <pc:sldMk cId="3152649728" sldId="653"/>
            <ac:spMk id="4" creationId="{00000000-0000-0000-0000-000000000000}"/>
          </ac:spMkLst>
        </pc:spChg>
        <pc:picChg chg="add mod">
          <ac:chgData name="Contursi, Massimo" userId="S::mcontursi@minsait.com::c11fe434-fa63-4734-8d01-c2285712721e" providerId="AD" clId="Web-{2B1B45CD-5C9A-4FA7-8F94-B3CC640E8BBB}" dt="2021-06-24T13:11:59.419" v="411" actId="1076"/>
          <ac:picMkLst>
            <pc:docMk/>
            <pc:sldMk cId="3152649728" sldId="653"/>
            <ac:picMk id="7" creationId="{2DE23510-2ABA-42A7-AAE7-6B1773F94F5A}"/>
          </ac:picMkLst>
        </pc:picChg>
      </pc:sldChg>
      <pc:sldChg chg="add replId">
        <pc:chgData name="Contursi, Massimo" userId="S::mcontursi@minsait.com::c11fe434-fa63-4734-8d01-c2285712721e" providerId="AD" clId="Web-{2B1B45CD-5C9A-4FA7-8F94-B3CC640E8BBB}" dt="2021-06-24T13:13:24.723" v="412"/>
        <pc:sldMkLst>
          <pc:docMk/>
          <pc:sldMk cId="1728840676" sldId="654"/>
        </pc:sldMkLst>
      </pc:sldChg>
      <pc:sldChg chg="add replId">
        <pc:chgData name="Contursi, Massimo" userId="S::mcontursi@minsait.com::c11fe434-fa63-4734-8d01-c2285712721e" providerId="AD" clId="Web-{2B1B45CD-5C9A-4FA7-8F94-B3CC640E8BBB}" dt="2021-06-24T13:13:28.145" v="413"/>
        <pc:sldMkLst>
          <pc:docMk/>
          <pc:sldMk cId="3608399352" sldId="655"/>
        </pc:sldMkLst>
      </pc:sldChg>
      <pc:sldMasterChg chg="addSldLayout">
        <pc:chgData name="Contursi, Massimo" userId="S::mcontursi@minsait.com::c11fe434-fa63-4734-8d01-c2285712721e" providerId="AD" clId="Web-{2B1B45CD-5C9A-4FA7-8F94-B3CC640E8BBB}" dt="2021-06-24T12:29:49.110" v="6"/>
        <pc:sldMasterMkLst>
          <pc:docMk/>
          <pc:sldMasterMk cId="986787546" sldId="2147483723"/>
        </pc:sldMasterMkLst>
        <pc:sldLayoutChg chg="add">
          <pc:chgData name="Contursi, Massimo" userId="S::mcontursi@minsait.com::c11fe434-fa63-4734-8d01-c2285712721e" providerId="AD" clId="Web-{2B1B45CD-5C9A-4FA7-8F94-B3CC640E8BBB}" dt="2021-06-24T12:29:49.110" v="6"/>
          <pc:sldLayoutMkLst>
            <pc:docMk/>
            <pc:sldMasterMk cId="986787546" sldId="2147483723"/>
            <pc:sldLayoutMk cId="1333454279" sldId="2147483856"/>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2622810880" sldId="2147483857"/>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2605628790" sldId="2147483858"/>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2776152164" sldId="2147483859"/>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2285104910" sldId="2147483860"/>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2725004340" sldId="2147483861"/>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787228298" sldId="2147483862"/>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1873759449" sldId="2147483863"/>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348679716" sldId="2147483864"/>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2236402376" sldId="2147483865"/>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3880015833" sldId="2147483866"/>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3496093159" sldId="2147483867"/>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3364679013" sldId="2147483868"/>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1060957772" sldId="2147483869"/>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268433619" sldId="2147483870"/>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1961300283" sldId="2147483871"/>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4200213385" sldId="2147483872"/>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1903428550" sldId="2147483873"/>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1088192012" sldId="2147483874"/>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2287555138" sldId="2147483875"/>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233317805" sldId="2147483876"/>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2667982234" sldId="2147483877"/>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1980882472" sldId="2147483878"/>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2663816236" sldId="2147483879"/>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1747660721" sldId="2147483880"/>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1648373125" sldId="2147483881"/>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2674229745" sldId="2147483882"/>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2857857764" sldId="2147483883"/>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1917194205" sldId="2147483884"/>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3087212518" sldId="2147483885"/>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266514968" sldId="2147483886"/>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2127659132" sldId="2147483887"/>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2645533147" sldId="2147483888"/>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1794241125" sldId="2147483889"/>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3268180077" sldId="2147483890"/>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2810529268" sldId="2147483891"/>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3275289569" sldId="2147483892"/>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134140077" sldId="2147483893"/>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1004234897" sldId="2147483894"/>
          </pc:sldLayoutMkLst>
        </pc:sldLayoutChg>
        <pc:sldLayoutChg chg="add">
          <pc:chgData name="Contursi, Massimo" userId="S::mcontursi@minsait.com::c11fe434-fa63-4734-8d01-c2285712721e" providerId="AD" clId="Web-{2B1B45CD-5C9A-4FA7-8F94-B3CC640E8BBB}" dt="2021-06-24T12:29:49.110" v="6"/>
          <pc:sldLayoutMkLst>
            <pc:docMk/>
            <pc:sldMasterMk cId="986787546" sldId="2147483723"/>
            <pc:sldLayoutMk cId="886644333" sldId="2147483895"/>
          </pc:sldLayoutMkLst>
        </pc:sldLayoutChg>
      </pc:sldMasterChg>
    </pc:docChg>
  </pc:docChgLst>
  <pc:docChgLst>
    <pc:chgData name="Contursi, Massimo" userId="S::mcontursi@minsait.com::c11fe434-fa63-4734-8d01-c2285712721e" providerId="AD" clId="Web-{2F0FBBA4-6481-4D41-87FB-9DB623CE4AA8}"/>
    <pc:docChg chg="addSld delSld modSld sldOrd">
      <pc:chgData name="Contursi, Massimo" userId="S::mcontursi@minsait.com::c11fe434-fa63-4734-8d01-c2285712721e" providerId="AD" clId="Web-{2F0FBBA4-6481-4D41-87FB-9DB623CE4AA8}" dt="2021-06-25T14:08:00.971" v="3364" actId="20577"/>
      <pc:docMkLst>
        <pc:docMk/>
      </pc:docMkLst>
      <pc:sldChg chg="addSp delSp modSp ord">
        <pc:chgData name="Contursi, Massimo" userId="S::mcontursi@minsait.com::c11fe434-fa63-4734-8d01-c2285712721e" providerId="AD" clId="Web-{2F0FBBA4-6481-4D41-87FB-9DB623CE4AA8}" dt="2021-06-25T11:10:24.411" v="1067"/>
        <pc:sldMkLst>
          <pc:docMk/>
          <pc:sldMk cId="2633473671" sldId="643"/>
        </pc:sldMkLst>
        <pc:spChg chg="add mod">
          <ac:chgData name="Contursi, Massimo" userId="S::mcontursi@minsait.com::c11fe434-fa63-4734-8d01-c2285712721e" providerId="AD" clId="Web-{2F0FBBA4-6481-4D41-87FB-9DB623CE4AA8}" dt="2021-06-25T11:09:28.566" v="1065" actId="20577"/>
          <ac:spMkLst>
            <pc:docMk/>
            <pc:sldMk cId="2633473671" sldId="643"/>
            <ac:spMk id="4" creationId="{FF883EE0-20CA-4808-B8A6-DB4A88547EA0}"/>
          </ac:spMkLst>
        </pc:spChg>
        <pc:spChg chg="mod">
          <ac:chgData name="Contursi, Massimo" userId="S::mcontursi@minsait.com::c11fe434-fa63-4734-8d01-c2285712721e" providerId="AD" clId="Web-{2F0FBBA4-6481-4D41-87FB-9DB623CE4AA8}" dt="2021-06-25T11:05:18.606" v="771" actId="1076"/>
          <ac:spMkLst>
            <pc:docMk/>
            <pc:sldMk cId="2633473671" sldId="643"/>
            <ac:spMk id="9" creationId="{92C4D6DD-881B-984A-9C92-27BA5BC27568}"/>
          </ac:spMkLst>
        </pc:spChg>
        <pc:graphicFrameChg chg="del mod modGraphic">
          <ac:chgData name="Contursi, Massimo" userId="S::mcontursi@minsait.com::c11fe434-fa63-4734-8d01-c2285712721e" providerId="AD" clId="Web-{2F0FBBA4-6481-4D41-87FB-9DB623CE4AA8}" dt="2021-06-25T11:05:28.450" v="772"/>
          <ac:graphicFrameMkLst>
            <pc:docMk/>
            <pc:sldMk cId="2633473671" sldId="643"/>
            <ac:graphicFrameMk id="12" creationId="{00000000-0000-0000-0000-000000000000}"/>
          </ac:graphicFrameMkLst>
        </pc:graphicFrameChg>
      </pc:sldChg>
      <pc:sldChg chg="del">
        <pc:chgData name="Contursi, Massimo" userId="S::mcontursi@minsait.com::c11fe434-fa63-4734-8d01-c2285712721e" providerId="AD" clId="Web-{2F0FBBA4-6481-4D41-87FB-9DB623CE4AA8}" dt="2021-06-25T13:34:38.168" v="3358"/>
        <pc:sldMkLst>
          <pc:docMk/>
          <pc:sldMk cId="3232786764" sldId="645"/>
        </pc:sldMkLst>
      </pc:sldChg>
      <pc:sldChg chg="addSp modSp">
        <pc:chgData name="Contursi, Massimo" userId="S::mcontursi@minsait.com::c11fe434-fa63-4734-8d01-c2285712721e" providerId="AD" clId="Web-{2F0FBBA4-6481-4D41-87FB-9DB623CE4AA8}" dt="2021-06-25T09:28:39.231" v="4" actId="1076"/>
        <pc:sldMkLst>
          <pc:docMk/>
          <pc:sldMk cId="2689893574" sldId="675"/>
        </pc:sldMkLst>
        <pc:picChg chg="add mod">
          <ac:chgData name="Contursi, Massimo" userId="S::mcontursi@minsait.com::c11fe434-fa63-4734-8d01-c2285712721e" providerId="AD" clId="Web-{2F0FBBA4-6481-4D41-87FB-9DB623CE4AA8}" dt="2021-06-25T09:28:18.840" v="2" actId="1076"/>
          <ac:picMkLst>
            <pc:docMk/>
            <pc:sldMk cId="2689893574" sldId="675"/>
            <ac:picMk id="8" creationId="{450D77F7-EE59-4249-A36B-CEC62D0F7B75}"/>
          </ac:picMkLst>
        </pc:picChg>
        <pc:picChg chg="add mod">
          <ac:chgData name="Contursi, Massimo" userId="S::mcontursi@minsait.com::c11fe434-fa63-4734-8d01-c2285712721e" providerId="AD" clId="Web-{2F0FBBA4-6481-4D41-87FB-9DB623CE4AA8}" dt="2021-06-25T09:28:39.231" v="4" actId="1076"/>
          <ac:picMkLst>
            <pc:docMk/>
            <pc:sldMk cId="2689893574" sldId="675"/>
            <ac:picMk id="13" creationId="{130B5BE3-5A50-4E85-B560-39DB6D690E2D}"/>
          </ac:picMkLst>
        </pc:picChg>
      </pc:sldChg>
      <pc:sldChg chg="addSp delSp modSp">
        <pc:chgData name="Contursi, Massimo" userId="S::mcontursi@minsait.com::c11fe434-fa63-4734-8d01-c2285712721e" providerId="AD" clId="Web-{2F0FBBA4-6481-4D41-87FB-9DB623CE4AA8}" dt="2021-06-25T10:06:37.687" v="649" actId="1076"/>
        <pc:sldMkLst>
          <pc:docMk/>
          <pc:sldMk cId="282654030" sldId="676"/>
        </pc:sldMkLst>
        <pc:spChg chg="mod">
          <ac:chgData name="Contursi, Massimo" userId="S::mcontursi@minsait.com::c11fe434-fa63-4734-8d01-c2285712721e" providerId="AD" clId="Web-{2F0FBBA4-6481-4D41-87FB-9DB623CE4AA8}" dt="2021-06-25T09:29:53.531" v="34" actId="20577"/>
          <ac:spMkLst>
            <pc:docMk/>
            <pc:sldMk cId="282654030" sldId="676"/>
            <ac:spMk id="9" creationId="{92C4D6DD-881B-984A-9C92-27BA5BC27568}"/>
          </ac:spMkLst>
        </pc:spChg>
        <pc:spChg chg="mod">
          <ac:chgData name="Contursi, Massimo" userId="S::mcontursi@minsait.com::c11fe434-fa63-4734-8d01-c2285712721e" providerId="AD" clId="Web-{2F0FBBA4-6481-4D41-87FB-9DB623CE4AA8}" dt="2021-06-25T09:39:41.879" v="241" actId="20577"/>
          <ac:spMkLst>
            <pc:docMk/>
            <pc:sldMk cId="282654030" sldId="676"/>
            <ac:spMk id="12" creationId="{126D343F-9F75-40A1-8F58-8E64DF4C655C}"/>
          </ac:spMkLst>
        </pc:spChg>
        <pc:spChg chg="mod">
          <ac:chgData name="Contursi, Massimo" userId="S::mcontursi@minsait.com::c11fe434-fa63-4734-8d01-c2285712721e" providerId="AD" clId="Web-{2F0FBBA4-6481-4D41-87FB-9DB623CE4AA8}" dt="2021-06-25T09:34:02.415" v="40" actId="20577"/>
          <ac:spMkLst>
            <pc:docMk/>
            <pc:sldMk cId="282654030" sldId="676"/>
            <ac:spMk id="13" creationId="{CB0E0B21-431D-4143-86D8-0637DECEBC49}"/>
          </ac:spMkLst>
        </pc:spChg>
        <pc:picChg chg="add del mod">
          <ac:chgData name="Contursi, Massimo" userId="S::mcontursi@minsait.com::c11fe434-fa63-4734-8d01-c2285712721e" providerId="AD" clId="Web-{2F0FBBA4-6481-4D41-87FB-9DB623CE4AA8}" dt="2021-06-25T10:06:30.296" v="645"/>
          <ac:picMkLst>
            <pc:docMk/>
            <pc:sldMk cId="282654030" sldId="676"/>
            <ac:picMk id="8" creationId="{E028F96D-1CB4-4E43-9819-4066D47C252B}"/>
          </ac:picMkLst>
        </pc:picChg>
        <pc:picChg chg="del">
          <ac:chgData name="Contursi, Massimo" userId="S::mcontursi@minsait.com::c11fe434-fa63-4734-8d01-c2285712721e" providerId="AD" clId="Web-{2F0FBBA4-6481-4D41-87FB-9DB623CE4AA8}" dt="2021-06-25T09:33:59.993" v="38"/>
          <ac:picMkLst>
            <pc:docMk/>
            <pc:sldMk cId="282654030" sldId="676"/>
            <ac:picMk id="15" creationId="{DFEB8AEC-249A-433D-A85A-2B34A3B4D1FC}"/>
          </ac:picMkLst>
        </pc:picChg>
        <pc:picChg chg="add mod">
          <ac:chgData name="Contursi, Massimo" userId="S::mcontursi@minsait.com::c11fe434-fa63-4734-8d01-c2285712721e" providerId="AD" clId="Web-{2F0FBBA4-6481-4D41-87FB-9DB623CE4AA8}" dt="2021-06-25T10:06:37.687" v="649" actId="1076"/>
          <ac:picMkLst>
            <pc:docMk/>
            <pc:sldMk cId="282654030" sldId="676"/>
            <ac:picMk id="16" creationId="{4ECF1829-715E-45E3-8D37-7A817277BECE}"/>
          </ac:picMkLst>
        </pc:picChg>
      </pc:sldChg>
      <pc:sldChg chg="addSp delSp modSp">
        <pc:chgData name="Contursi, Massimo" userId="S::mcontursi@minsait.com::c11fe434-fa63-4734-8d01-c2285712721e" providerId="AD" clId="Web-{2F0FBBA4-6481-4D41-87FB-9DB623CE4AA8}" dt="2021-06-25T09:49:18.806" v="271" actId="1076"/>
        <pc:sldMkLst>
          <pc:docMk/>
          <pc:sldMk cId="2894545093" sldId="677"/>
        </pc:sldMkLst>
        <pc:spChg chg="mod">
          <ac:chgData name="Contursi, Massimo" userId="S::mcontursi@minsait.com::c11fe434-fa63-4734-8d01-c2285712721e" providerId="AD" clId="Web-{2F0FBBA4-6481-4D41-87FB-9DB623CE4AA8}" dt="2021-06-25T09:48:52.336" v="254" actId="20577"/>
          <ac:spMkLst>
            <pc:docMk/>
            <pc:sldMk cId="2894545093" sldId="677"/>
            <ac:spMk id="9" creationId="{92C4D6DD-881B-984A-9C92-27BA5BC27568}"/>
          </ac:spMkLst>
        </pc:spChg>
        <pc:spChg chg="mod">
          <ac:chgData name="Contursi, Massimo" userId="S::mcontursi@minsait.com::c11fe434-fa63-4734-8d01-c2285712721e" providerId="AD" clId="Web-{2F0FBBA4-6481-4D41-87FB-9DB623CE4AA8}" dt="2021-06-25T09:48:55.446" v="258" actId="20577"/>
          <ac:spMkLst>
            <pc:docMk/>
            <pc:sldMk cId="2894545093" sldId="677"/>
            <ac:spMk id="12" creationId="{126D343F-9F75-40A1-8F58-8E64DF4C655C}"/>
          </ac:spMkLst>
        </pc:spChg>
        <pc:spChg chg="mod">
          <ac:chgData name="Contursi, Massimo" userId="S::mcontursi@minsait.com::c11fe434-fa63-4734-8d01-c2285712721e" providerId="AD" clId="Web-{2F0FBBA4-6481-4D41-87FB-9DB623CE4AA8}" dt="2021-06-25T09:49:01.087" v="262" actId="20577"/>
          <ac:spMkLst>
            <pc:docMk/>
            <pc:sldMk cId="2894545093" sldId="677"/>
            <ac:spMk id="13" creationId="{CB0E0B21-431D-4143-86D8-0637DECEBC49}"/>
          </ac:spMkLst>
        </pc:spChg>
        <pc:picChg chg="add mod">
          <ac:chgData name="Contursi, Massimo" userId="S::mcontursi@minsait.com::c11fe434-fa63-4734-8d01-c2285712721e" providerId="AD" clId="Web-{2F0FBBA4-6481-4D41-87FB-9DB623CE4AA8}" dt="2021-06-25T09:49:18.806" v="271" actId="1076"/>
          <ac:picMkLst>
            <pc:docMk/>
            <pc:sldMk cId="2894545093" sldId="677"/>
            <ac:picMk id="8" creationId="{AEB6BF60-8B92-4EC2-B518-F8DCA4A76013}"/>
          </ac:picMkLst>
        </pc:picChg>
        <pc:picChg chg="del">
          <ac:chgData name="Contursi, Massimo" userId="S::mcontursi@minsait.com::c11fe434-fa63-4734-8d01-c2285712721e" providerId="AD" clId="Web-{2F0FBBA4-6481-4D41-87FB-9DB623CE4AA8}" dt="2021-06-25T09:48:57.118" v="259"/>
          <ac:picMkLst>
            <pc:docMk/>
            <pc:sldMk cId="2894545093" sldId="677"/>
            <ac:picMk id="15" creationId="{DFEB8AEC-249A-433D-A85A-2B34A3B4D1FC}"/>
          </ac:picMkLst>
        </pc:picChg>
      </pc:sldChg>
      <pc:sldChg chg="delSp modSp add replId">
        <pc:chgData name="Contursi, Massimo" userId="S::mcontursi@minsait.com::c11fe434-fa63-4734-8d01-c2285712721e" providerId="AD" clId="Web-{2F0FBBA4-6481-4D41-87FB-9DB623CE4AA8}" dt="2021-06-25T09:52:42.688" v="394" actId="20577"/>
        <pc:sldMkLst>
          <pc:docMk/>
          <pc:sldMk cId="1015864784" sldId="678"/>
        </pc:sldMkLst>
        <pc:spChg chg="mod">
          <ac:chgData name="Contursi, Massimo" userId="S::mcontursi@minsait.com::c11fe434-fa63-4734-8d01-c2285712721e" providerId="AD" clId="Web-{2F0FBBA4-6481-4D41-87FB-9DB623CE4AA8}" dt="2021-06-25T09:52:42.688" v="394" actId="20577"/>
          <ac:spMkLst>
            <pc:docMk/>
            <pc:sldMk cId="1015864784" sldId="678"/>
            <ac:spMk id="9" creationId="{92C4D6DD-881B-984A-9C92-27BA5BC27568}"/>
          </ac:spMkLst>
        </pc:spChg>
        <pc:picChg chg="del">
          <ac:chgData name="Contursi, Massimo" userId="S::mcontursi@minsait.com::c11fe434-fa63-4734-8d01-c2285712721e" providerId="AD" clId="Web-{2F0FBBA4-6481-4D41-87FB-9DB623CE4AA8}" dt="2021-06-25T09:50:50.153" v="273"/>
          <ac:picMkLst>
            <pc:docMk/>
            <pc:sldMk cId="1015864784" sldId="678"/>
            <ac:picMk id="8" creationId="{AEB6BF60-8B92-4EC2-B518-F8DCA4A76013}"/>
          </ac:picMkLst>
        </pc:picChg>
      </pc:sldChg>
      <pc:sldChg chg="addSp delSp modSp add replId">
        <pc:chgData name="Contursi, Massimo" userId="S::mcontursi@minsait.com::c11fe434-fa63-4734-8d01-c2285712721e" providerId="AD" clId="Web-{2F0FBBA4-6481-4D41-87FB-9DB623CE4AA8}" dt="2021-06-25T14:07:50.377" v="3362" actId="1076"/>
        <pc:sldMkLst>
          <pc:docMk/>
          <pc:sldMk cId="1246181257" sldId="679"/>
        </pc:sldMkLst>
        <pc:spChg chg="mod">
          <ac:chgData name="Contursi, Massimo" userId="S::mcontursi@minsait.com::c11fe434-fa63-4734-8d01-c2285712721e" providerId="AD" clId="Web-{2F0FBBA4-6481-4D41-87FB-9DB623CE4AA8}" dt="2021-06-25T09:55:59.914" v="403" actId="20577"/>
          <ac:spMkLst>
            <pc:docMk/>
            <pc:sldMk cId="1246181257" sldId="679"/>
            <ac:spMk id="9" creationId="{92C4D6DD-881B-984A-9C92-27BA5BC27568}"/>
          </ac:spMkLst>
        </pc:spChg>
        <pc:spChg chg="mod">
          <ac:chgData name="Contursi, Massimo" userId="S::mcontursi@minsait.com::c11fe434-fa63-4734-8d01-c2285712721e" providerId="AD" clId="Web-{2F0FBBA4-6481-4D41-87FB-9DB623CE4AA8}" dt="2021-06-25T14:07:50.377" v="3362" actId="1076"/>
          <ac:spMkLst>
            <pc:docMk/>
            <pc:sldMk cId="1246181257" sldId="679"/>
            <ac:spMk id="12" creationId="{126D343F-9F75-40A1-8F58-8E64DF4C655C}"/>
          </ac:spMkLst>
        </pc:spChg>
        <pc:spChg chg="mod">
          <ac:chgData name="Contursi, Massimo" userId="S::mcontursi@minsait.com::c11fe434-fa63-4734-8d01-c2285712721e" providerId="AD" clId="Web-{2F0FBBA4-6481-4D41-87FB-9DB623CE4AA8}" dt="2021-06-25T10:05:04.387" v="637" actId="14100"/>
          <ac:spMkLst>
            <pc:docMk/>
            <pc:sldMk cId="1246181257" sldId="679"/>
            <ac:spMk id="13" creationId="{CB0E0B21-431D-4143-86D8-0637DECEBC49}"/>
          </ac:spMkLst>
        </pc:spChg>
        <pc:picChg chg="del">
          <ac:chgData name="Contursi, Massimo" userId="S::mcontursi@minsait.com::c11fe434-fa63-4734-8d01-c2285712721e" providerId="AD" clId="Web-{2F0FBBA4-6481-4D41-87FB-9DB623CE4AA8}" dt="2021-06-25T09:56:42.416" v="439"/>
          <ac:picMkLst>
            <pc:docMk/>
            <pc:sldMk cId="1246181257" sldId="679"/>
            <ac:picMk id="8" creationId="{E028F96D-1CB4-4E43-9819-4066D47C252B}"/>
          </ac:picMkLst>
        </pc:picChg>
        <pc:picChg chg="add mod">
          <ac:chgData name="Contursi, Massimo" userId="S::mcontursi@minsait.com::c11fe434-fa63-4734-8d01-c2285712721e" providerId="AD" clId="Web-{2F0FBBA4-6481-4D41-87FB-9DB623CE4AA8}" dt="2021-06-25T10:05:34.060" v="641" actId="1076"/>
          <ac:picMkLst>
            <pc:docMk/>
            <pc:sldMk cId="1246181257" sldId="679"/>
            <ac:picMk id="15" creationId="{E6317501-09F0-422C-BFF5-3F89BE0D5E00}"/>
          </ac:picMkLst>
        </pc:picChg>
        <pc:picChg chg="add mod">
          <ac:chgData name="Contursi, Massimo" userId="S::mcontursi@minsait.com::c11fe434-fa63-4734-8d01-c2285712721e" providerId="AD" clId="Web-{2F0FBBA4-6481-4D41-87FB-9DB623CE4AA8}" dt="2021-06-25T10:05:45.857" v="644" actId="14100"/>
          <ac:picMkLst>
            <pc:docMk/>
            <pc:sldMk cId="1246181257" sldId="679"/>
            <ac:picMk id="16" creationId="{5070E6A3-C587-4B56-B240-60DAE204B93A}"/>
          </ac:picMkLst>
        </pc:picChg>
      </pc:sldChg>
      <pc:sldChg chg="addSp modSp add ord replId">
        <pc:chgData name="Contursi, Massimo" userId="S::mcontursi@minsait.com::c11fe434-fa63-4734-8d01-c2285712721e" providerId="AD" clId="Web-{2F0FBBA4-6481-4D41-87FB-9DB623CE4AA8}" dt="2021-06-25T14:08:00.971" v="3364" actId="20577"/>
        <pc:sldMkLst>
          <pc:docMk/>
          <pc:sldMk cId="466694922" sldId="680"/>
        </pc:sldMkLst>
        <pc:spChg chg="mod">
          <ac:chgData name="Contursi, Massimo" userId="S::mcontursi@minsait.com::c11fe434-fa63-4734-8d01-c2285712721e" providerId="AD" clId="Web-{2F0FBBA4-6481-4D41-87FB-9DB623CE4AA8}" dt="2021-06-25T10:08:22.988" v="683" actId="20577"/>
          <ac:spMkLst>
            <pc:docMk/>
            <pc:sldMk cId="466694922" sldId="680"/>
            <ac:spMk id="9" creationId="{92C4D6DD-881B-984A-9C92-27BA5BC27568}"/>
          </ac:spMkLst>
        </pc:spChg>
        <pc:spChg chg="mod">
          <ac:chgData name="Contursi, Massimo" userId="S::mcontursi@minsait.com::c11fe434-fa63-4734-8d01-c2285712721e" providerId="AD" clId="Web-{2F0FBBA4-6481-4D41-87FB-9DB623CE4AA8}" dt="2021-06-25T14:08:00.971" v="3364" actId="20577"/>
          <ac:spMkLst>
            <pc:docMk/>
            <pc:sldMk cId="466694922" sldId="680"/>
            <ac:spMk id="12" creationId="{126D343F-9F75-40A1-8F58-8E64DF4C655C}"/>
          </ac:spMkLst>
        </pc:spChg>
        <pc:picChg chg="add mod">
          <ac:chgData name="Contursi, Massimo" userId="S::mcontursi@minsait.com::c11fe434-fa63-4734-8d01-c2285712721e" providerId="AD" clId="Web-{2F0FBBA4-6481-4D41-87FB-9DB623CE4AA8}" dt="2021-06-25T10:08:52.004" v="694" actId="1076"/>
          <ac:picMkLst>
            <pc:docMk/>
            <pc:sldMk cId="466694922" sldId="680"/>
            <ac:picMk id="8" creationId="{B8695311-AB61-4663-869C-EDEEE6D2428A}"/>
          </ac:picMkLst>
        </pc:picChg>
        <pc:picChg chg="add mod">
          <ac:chgData name="Contursi, Massimo" userId="S::mcontursi@minsait.com::c11fe434-fa63-4734-8d01-c2285712721e" providerId="AD" clId="Web-{2F0FBBA4-6481-4D41-87FB-9DB623CE4AA8}" dt="2021-06-25T10:09:14.364" v="698" actId="1076"/>
          <ac:picMkLst>
            <pc:docMk/>
            <pc:sldMk cId="466694922" sldId="680"/>
            <ac:picMk id="15" creationId="{F0CF30B6-8259-4868-A1C7-030F9EBCC67B}"/>
          </ac:picMkLst>
        </pc:picChg>
      </pc:sldChg>
      <pc:sldChg chg="add replId">
        <pc:chgData name="Contursi, Massimo" userId="S::mcontursi@minsait.com::c11fe434-fa63-4734-8d01-c2285712721e" providerId="AD" clId="Web-{2F0FBBA4-6481-4D41-87FB-9DB623CE4AA8}" dt="2021-06-25T11:04:34.464" v="741"/>
        <pc:sldMkLst>
          <pc:docMk/>
          <pc:sldMk cId="3257060595" sldId="681"/>
        </pc:sldMkLst>
      </pc:sldChg>
      <pc:sldChg chg="add replId">
        <pc:chgData name="Contursi, Massimo" userId="S::mcontursi@minsait.com::c11fe434-fa63-4734-8d01-c2285712721e" providerId="AD" clId="Web-{2F0FBBA4-6481-4D41-87FB-9DB623CE4AA8}" dt="2021-06-25T11:04:38.589" v="742"/>
        <pc:sldMkLst>
          <pc:docMk/>
          <pc:sldMk cId="4247370951" sldId="682"/>
        </pc:sldMkLst>
      </pc:sldChg>
      <pc:sldChg chg="add replId">
        <pc:chgData name="Contursi, Massimo" userId="S::mcontursi@minsait.com::c11fe434-fa63-4734-8d01-c2285712721e" providerId="AD" clId="Web-{2F0FBBA4-6481-4D41-87FB-9DB623CE4AA8}" dt="2021-06-25T11:04:41.496" v="743"/>
        <pc:sldMkLst>
          <pc:docMk/>
          <pc:sldMk cId="1913011545" sldId="683"/>
        </pc:sldMkLst>
      </pc:sldChg>
      <pc:sldChg chg="addSp modSp add ord replId">
        <pc:chgData name="Contursi, Massimo" userId="S::mcontursi@minsait.com::c11fe434-fa63-4734-8d01-c2285712721e" providerId="AD" clId="Web-{2F0FBBA4-6481-4D41-87FB-9DB623CE4AA8}" dt="2021-06-25T11:13:32.213" v="1324" actId="14100"/>
        <pc:sldMkLst>
          <pc:docMk/>
          <pc:sldMk cId="3609294105" sldId="684"/>
        </pc:sldMkLst>
        <pc:spChg chg="mod">
          <ac:chgData name="Contursi, Massimo" userId="S::mcontursi@minsait.com::c11fe434-fa63-4734-8d01-c2285712721e" providerId="AD" clId="Web-{2F0FBBA4-6481-4D41-87FB-9DB623CE4AA8}" dt="2021-06-25T11:13:24.369" v="1321" actId="20577"/>
          <ac:spMkLst>
            <pc:docMk/>
            <pc:sldMk cId="3609294105" sldId="684"/>
            <ac:spMk id="4" creationId="{FF883EE0-20CA-4808-B8A6-DB4A88547EA0}"/>
          </ac:spMkLst>
        </pc:spChg>
        <pc:picChg chg="add mod">
          <ac:chgData name="Contursi, Massimo" userId="S::mcontursi@minsait.com::c11fe434-fa63-4734-8d01-c2285712721e" providerId="AD" clId="Web-{2F0FBBA4-6481-4D41-87FB-9DB623CE4AA8}" dt="2021-06-25T11:13:32.213" v="1324" actId="14100"/>
          <ac:picMkLst>
            <pc:docMk/>
            <pc:sldMk cId="3609294105" sldId="684"/>
            <ac:picMk id="7" creationId="{8FF052D5-CE1B-4219-B90B-BEBE25FC7DDA}"/>
          </ac:picMkLst>
        </pc:picChg>
      </pc:sldChg>
      <pc:sldChg chg="delSp modSp add replId">
        <pc:chgData name="Contursi, Massimo" userId="S::mcontursi@minsait.com::c11fe434-fa63-4734-8d01-c2285712721e" providerId="AD" clId="Web-{2F0FBBA4-6481-4D41-87FB-9DB623CE4AA8}" dt="2021-06-25T12:35:09.663" v="1408" actId="20577"/>
        <pc:sldMkLst>
          <pc:docMk/>
          <pc:sldMk cId="517407883" sldId="685"/>
        </pc:sldMkLst>
        <pc:spChg chg="mod">
          <ac:chgData name="Contursi, Massimo" userId="S::mcontursi@minsait.com::c11fe434-fa63-4734-8d01-c2285712721e" providerId="AD" clId="Web-{2F0FBBA4-6481-4D41-87FB-9DB623CE4AA8}" dt="2021-06-25T12:35:09.663" v="1408" actId="20577"/>
          <ac:spMkLst>
            <pc:docMk/>
            <pc:sldMk cId="517407883" sldId="685"/>
            <ac:spMk id="4" creationId="{FF883EE0-20CA-4808-B8A6-DB4A88547EA0}"/>
          </ac:spMkLst>
        </pc:spChg>
        <pc:picChg chg="del">
          <ac:chgData name="Contursi, Massimo" userId="S::mcontursi@minsait.com::c11fe434-fa63-4734-8d01-c2285712721e" providerId="AD" clId="Web-{2F0FBBA4-6481-4D41-87FB-9DB623CE4AA8}" dt="2021-06-25T12:32:43.800" v="1333"/>
          <ac:picMkLst>
            <pc:docMk/>
            <pc:sldMk cId="517407883" sldId="685"/>
            <ac:picMk id="7" creationId="{8FF052D5-CE1B-4219-B90B-BEBE25FC7DDA}"/>
          </ac:picMkLst>
        </pc:picChg>
      </pc:sldChg>
      <pc:sldChg chg="addSp delSp modSp add replId">
        <pc:chgData name="Contursi, Massimo" userId="S::mcontursi@minsait.com::c11fe434-fa63-4734-8d01-c2285712721e" providerId="AD" clId="Web-{2F0FBBA4-6481-4D41-87FB-9DB623CE4AA8}" dt="2021-06-25T13:35:44.764" v="3359" actId="1076"/>
        <pc:sldMkLst>
          <pc:docMk/>
          <pc:sldMk cId="3644919368" sldId="686"/>
        </pc:sldMkLst>
        <pc:spChg chg="mod">
          <ac:chgData name="Contursi, Massimo" userId="S::mcontursi@minsait.com::c11fe434-fa63-4734-8d01-c2285712721e" providerId="AD" clId="Web-{2F0FBBA4-6481-4D41-87FB-9DB623CE4AA8}" dt="2021-06-25T12:36:56.775" v="1456" actId="1076"/>
          <ac:spMkLst>
            <pc:docMk/>
            <pc:sldMk cId="3644919368" sldId="686"/>
            <ac:spMk id="4" creationId="{FF883EE0-20CA-4808-B8A6-DB4A88547EA0}"/>
          </ac:spMkLst>
        </pc:spChg>
        <pc:spChg chg="add mod">
          <ac:chgData name="Contursi, Massimo" userId="S::mcontursi@minsait.com::c11fe434-fa63-4734-8d01-c2285712721e" providerId="AD" clId="Web-{2F0FBBA4-6481-4D41-87FB-9DB623CE4AA8}" dt="2021-06-25T13:35:44.764" v="3359" actId="1076"/>
          <ac:spMkLst>
            <pc:docMk/>
            <pc:sldMk cId="3644919368" sldId="686"/>
            <ac:spMk id="8" creationId="{FFE22963-DD57-4FEF-A28D-9FD4C1EB2707}"/>
          </ac:spMkLst>
        </pc:spChg>
        <pc:spChg chg="mod">
          <ac:chgData name="Contursi, Massimo" userId="S::mcontursi@minsait.com::c11fe434-fa63-4734-8d01-c2285712721e" providerId="AD" clId="Web-{2F0FBBA4-6481-4D41-87FB-9DB623CE4AA8}" dt="2021-06-25T12:35:56.899" v="1422" actId="20577"/>
          <ac:spMkLst>
            <pc:docMk/>
            <pc:sldMk cId="3644919368" sldId="686"/>
            <ac:spMk id="9" creationId="{92C4D6DD-881B-984A-9C92-27BA5BC27568}"/>
          </ac:spMkLst>
        </pc:spChg>
        <pc:picChg chg="del">
          <ac:chgData name="Contursi, Massimo" userId="S::mcontursi@minsait.com::c11fe434-fa63-4734-8d01-c2285712721e" providerId="AD" clId="Web-{2F0FBBA4-6481-4D41-87FB-9DB623CE4AA8}" dt="2021-06-25T12:35:40.555" v="1411"/>
          <ac:picMkLst>
            <pc:docMk/>
            <pc:sldMk cId="3644919368" sldId="686"/>
            <ac:picMk id="7" creationId="{8FF052D5-CE1B-4219-B90B-BEBE25FC7DDA}"/>
          </ac:picMkLst>
        </pc:picChg>
      </pc:sldChg>
      <pc:sldChg chg="addSp delSp modSp add replId">
        <pc:chgData name="Contursi, Massimo" userId="S::mcontursi@minsait.com::c11fe434-fa63-4734-8d01-c2285712721e" providerId="AD" clId="Web-{2F0FBBA4-6481-4D41-87FB-9DB623CE4AA8}" dt="2021-06-25T12:57:05.685" v="2196" actId="20577"/>
        <pc:sldMkLst>
          <pc:docMk/>
          <pc:sldMk cId="639115389" sldId="687"/>
        </pc:sldMkLst>
        <pc:spChg chg="mod">
          <ac:chgData name="Contursi, Massimo" userId="S::mcontursi@minsait.com::c11fe434-fa63-4734-8d01-c2285712721e" providerId="AD" clId="Web-{2F0FBBA4-6481-4D41-87FB-9DB623CE4AA8}" dt="2021-06-25T12:47:00.340" v="2000" actId="20577"/>
          <ac:spMkLst>
            <pc:docMk/>
            <pc:sldMk cId="639115389" sldId="687"/>
            <ac:spMk id="4" creationId="{FF883EE0-20CA-4808-B8A6-DB4A88547EA0}"/>
          </ac:spMkLst>
        </pc:spChg>
        <pc:spChg chg="mod">
          <ac:chgData name="Contursi, Massimo" userId="S::mcontursi@minsait.com::c11fe434-fa63-4734-8d01-c2285712721e" providerId="AD" clId="Web-{2F0FBBA4-6481-4D41-87FB-9DB623CE4AA8}" dt="2021-06-25T12:57:05.685" v="2196" actId="20577"/>
          <ac:spMkLst>
            <pc:docMk/>
            <pc:sldMk cId="639115389" sldId="687"/>
            <ac:spMk id="9" creationId="{92C4D6DD-881B-984A-9C92-27BA5BC27568}"/>
          </ac:spMkLst>
        </pc:spChg>
        <pc:picChg chg="del">
          <ac:chgData name="Contursi, Massimo" userId="S::mcontursi@minsait.com::c11fe434-fa63-4734-8d01-c2285712721e" providerId="AD" clId="Web-{2F0FBBA4-6481-4D41-87FB-9DB623CE4AA8}" dt="2021-06-25T12:44:13.570" v="1807"/>
          <ac:picMkLst>
            <pc:docMk/>
            <pc:sldMk cId="639115389" sldId="687"/>
            <ac:picMk id="7" creationId="{8FF052D5-CE1B-4219-B90B-BEBE25FC7DDA}"/>
          </ac:picMkLst>
        </pc:picChg>
        <pc:picChg chg="add mod">
          <ac:chgData name="Contursi, Massimo" userId="S::mcontursi@minsait.com::c11fe434-fa63-4734-8d01-c2285712721e" providerId="AD" clId="Web-{2F0FBBA4-6481-4D41-87FB-9DB623CE4AA8}" dt="2021-06-25T12:47:37.279" v="2003" actId="14100"/>
          <ac:picMkLst>
            <pc:docMk/>
            <pc:sldMk cId="639115389" sldId="687"/>
            <ac:picMk id="8" creationId="{99A0C13E-00D0-42D8-8951-E3EFEF95401B}"/>
          </ac:picMkLst>
        </pc:picChg>
      </pc:sldChg>
      <pc:sldChg chg="addSp delSp modSp add replId">
        <pc:chgData name="Contursi, Massimo" userId="S::mcontursi@minsait.com::c11fe434-fa63-4734-8d01-c2285712721e" providerId="AD" clId="Web-{2F0FBBA4-6481-4D41-87FB-9DB623CE4AA8}" dt="2021-06-25T12:59:08.719" v="2208" actId="1076"/>
        <pc:sldMkLst>
          <pc:docMk/>
          <pc:sldMk cId="2176797002" sldId="688"/>
        </pc:sldMkLst>
        <pc:spChg chg="mod">
          <ac:chgData name="Contursi, Massimo" userId="S::mcontursi@minsait.com::c11fe434-fa63-4734-8d01-c2285712721e" providerId="AD" clId="Web-{2F0FBBA4-6481-4D41-87FB-9DB623CE4AA8}" dt="2021-06-25T12:39:23.795" v="1489" actId="20577"/>
          <ac:spMkLst>
            <pc:docMk/>
            <pc:sldMk cId="2176797002" sldId="688"/>
            <ac:spMk id="4" creationId="{FF883EE0-20CA-4808-B8A6-DB4A88547EA0}"/>
          </ac:spMkLst>
        </pc:spChg>
        <pc:spChg chg="add mod">
          <ac:chgData name="Contursi, Massimo" userId="S::mcontursi@minsait.com::c11fe434-fa63-4734-8d01-c2285712721e" providerId="AD" clId="Web-{2F0FBBA4-6481-4D41-87FB-9DB623CE4AA8}" dt="2021-06-25T12:59:02.141" v="2204" actId="20577"/>
          <ac:spMkLst>
            <pc:docMk/>
            <pc:sldMk cId="2176797002" sldId="688"/>
            <ac:spMk id="8" creationId="{8E5F680A-EB5C-4A14-9A74-542AF7EAFAA5}"/>
          </ac:spMkLst>
        </pc:spChg>
        <pc:spChg chg="mod">
          <ac:chgData name="Contursi, Massimo" userId="S::mcontursi@minsait.com::c11fe434-fa63-4734-8d01-c2285712721e" providerId="AD" clId="Web-{2F0FBBA4-6481-4D41-87FB-9DB623CE4AA8}" dt="2021-06-25T12:58:48.750" v="2202" actId="20577"/>
          <ac:spMkLst>
            <pc:docMk/>
            <pc:sldMk cId="2176797002" sldId="688"/>
            <ac:spMk id="9" creationId="{92C4D6DD-881B-984A-9C92-27BA5BC27568}"/>
          </ac:spMkLst>
        </pc:spChg>
        <pc:picChg chg="del">
          <ac:chgData name="Contursi, Massimo" userId="S::mcontursi@minsait.com::c11fe434-fa63-4734-8d01-c2285712721e" providerId="AD" clId="Web-{2F0FBBA4-6481-4D41-87FB-9DB623CE4AA8}" dt="2021-06-25T12:39:25.045" v="1490"/>
          <ac:picMkLst>
            <pc:docMk/>
            <pc:sldMk cId="2176797002" sldId="688"/>
            <ac:picMk id="7" creationId="{8FF052D5-CE1B-4219-B90B-BEBE25FC7DDA}"/>
          </ac:picMkLst>
        </pc:picChg>
        <pc:picChg chg="add mod">
          <ac:chgData name="Contursi, Massimo" userId="S::mcontursi@minsait.com::c11fe434-fa63-4734-8d01-c2285712721e" providerId="AD" clId="Web-{2F0FBBA4-6481-4D41-87FB-9DB623CE4AA8}" dt="2021-06-25T12:59:08.719" v="2208" actId="1076"/>
          <ac:picMkLst>
            <pc:docMk/>
            <pc:sldMk cId="2176797002" sldId="688"/>
            <ac:picMk id="12" creationId="{BA95DDD7-42CC-4FC0-B861-DF136FA39D9C}"/>
          </ac:picMkLst>
        </pc:picChg>
      </pc:sldChg>
      <pc:sldChg chg="addSp delSp modSp add replId">
        <pc:chgData name="Contursi, Massimo" userId="S::mcontursi@minsait.com::c11fe434-fa63-4734-8d01-c2285712721e" providerId="AD" clId="Web-{2F0FBBA4-6481-4D41-87FB-9DB623CE4AA8}" dt="2021-06-25T12:49:10.547" v="2047" actId="14100"/>
        <pc:sldMkLst>
          <pc:docMk/>
          <pc:sldMk cId="424086633" sldId="689"/>
        </pc:sldMkLst>
        <pc:spChg chg="mod">
          <ac:chgData name="Contursi, Massimo" userId="S::mcontursi@minsait.com::c11fe434-fa63-4734-8d01-c2285712721e" providerId="AD" clId="Web-{2F0FBBA4-6481-4D41-87FB-9DB623CE4AA8}" dt="2021-06-25T12:48:49.468" v="2042" actId="20577"/>
          <ac:spMkLst>
            <pc:docMk/>
            <pc:sldMk cId="424086633" sldId="689"/>
            <ac:spMk id="4" creationId="{FF883EE0-20CA-4808-B8A6-DB4A88547EA0}"/>
          </ac:spMkLst>
        </pc:spChg>
        <pc:spChg chg="mod">
          <ac:chgData name="Contursi, Massimo" userId="S::mcontursi@minsait.com::c11fe434-fa63-4734-8d01-c2285712721e" providerId="AD" clId="Web-{2F0FBBA4-6481-4D41-87FB-9DB623CE4AA8}" dt="2021-06-25T12:48:41.202" v="2040" actId="14100"/>
          <ac:spMkLst>
            <pc:docMk/>
            <pc:sldMk cId="424086633" sldId="689"/>
            <ac:spMk id="9" creationId="{92C4D6DD-881B-984A-9C92-27BA5BC27568}"/>
          </ac:spMkLst>
        </pc:spChg>
        <pc:picChg chg="add mod">
          <ac:chgData name="Contursi, Massimo" userId="S::mcontursi@minsait.com::c11fe434-fa63-4734-8d01-c2285712721e" providerId="AD" clId="Web-{2F0FBBA4-6481-4D41-87FB-9DB623CE4AA8}" dt="2021-06-25T12:49:10.547" v="2047" actId="14100"/>
          <ac:picMkLst>
            <pc:docMk/>
            <pc:sldMk cId="424086633" sldId="689"/>
            <ac:picMk id="7" creationId="{FA68165B-E377-4463-ACD0-555E5887BCAB}"/>
          </ac:picMkLst>
        </pc:picChg>
        <pc:picChg chg="del">
          <ac:chgData name="Contursi, Massimo" userId="S::mcontursi@minsait.com::c11fe434-fa63-4734-8d01-c2285712721e" providerId="AD" clId="Web-{2F0FBBA4-6481-4D41-87FB-9DB623CE4AA8}" dt="2021-06-25T12:48:51.452" v="2043"/>
          <ac:picMkLst>
            <pc:docMk/>
            <pc:sldMk cId="424086633" sldId="689"/>
            <ac:picMk id="8" creationId="{99A0C13E-00D0-42D8-8951-E3EFEF95401B}"/>
          </ac:picMkLst>
        </pc:picChg>
      </pc:sldChg>
      <pc:sldChg chg="delSp modSp add replId">
        <pc:chgData name="Contursi, Massimo" userId="S::mcontursi@minsait.com::c11fe434-fa63-4734-8d01-c2285712721e" providerId="AD" clId="Web-{2F0FBBA4-6481-4D41-87FB-9DB623CE4AA8}" dt="2021-06-25T12:52:58.834" v="2177" actId="20577"/>
        <pc:sldMkLst>
          <pc:docMk/>
          <pc:sldMk cId="4093174728" sldId="690"/>
        </pc:sldMkLst>
        <pc:spChg chg="mod">
          <ac:chgData name="Contursi, Massimo" userId="S::mcontursi@minsait.com::c11fe434-fa63-4734-8d01-c2285712721e" providerId="AD" clId="Web-{2F0FBBA4-6481-4D41-87FB-9DB623CE4AA8}" dt="2021-06-25T12:52:40.256" v="2175" actId="20577"/>
          <ac:spMkLst>
            <pc:docMk/>
            <pc:sldMk cId="4093174728" sldId="690"/>
            <ac:spMk id="4" creationId="{FF883EE0-20CA-4808-B8A6-DB4A88547EA0}"/>
          </ac:spMkLst>
        </pc:spChg>
        <pc:spChg chg="mod">
          <ac:chgData name="Contursi, Massimo" userId="S::mcontursi@minsait.com::c11fe434-fa63-4734-8d01-c2285712721e" providerId="AD" clId="Web-{2F0FBBA4-6481-4D41-87FB-9DB623CE4AA8}" dt="2021-06-25T12:52:58.834" v="2177" actId="20577"/>
          <ac:spMkLst>
            <pc:docMk/>
            <pc:sldMk cId="4093174728" sldId="690"/>
            <ac:spMk id="9" creationId="{92C4D6DD-881B-984A-9C92-27BA5BC27568}"/>
          </ac:spMkLst>
        </pc:spChg>
        <pc:picChg chg="del">
          <ac:chgData name="Contursi, Massimo" userId="S::mcontursi@minsait.com::c11fe434-fa63-4734-8d01-c2285712721e" providerId="AD" clId="Web-{2F0FBBA4-6481-4D41-87FB-9DB623CE4AA8}" dt="2021-06-25T12:50:15.111" v="2061"/>
          <ac:picMkLst>
            <pc:docMk/>
            <pc:sldMk cId="4093174728" sldId="690"/>
            <ac:picMk id="7" creationId="{FA68165B-E377-4463-ACD0-555E5887BCAB}"/>
          </ac:picMkLst>
        </pc:picChg>
      </pc:sldChg>
      <pc:sldChg chg="addSp modSp add replId">
        <pc:chgData name="Contursi, Massimo" userId="S::mcontursi@minsait.com::c11fe434-fa63-4734-8d01-c2285712721e" providerId="AD" clId="Web-{2F0FBBA4-6481-4D41-87FB-9DB623CE4AA8}" dt="2021-06-25T12:53:31.429" v="2185" actId="1076"/>
        <pc:sldMkLst>
          <pc:docMk/>
          <pc:sldMk cId="2943330567" sldId="691"/>
        </pc:sldMkLst>
        <pc:spChg chg="mod">
          <ac:chgData name="Contursi, Massimo" userId="S::mcontursi@minsait.com::c11fe434-fa63-4734-8d01-c2285712721e" providerId="AD" clId="Web-{2F0FBBA4-6481-4D41-87FB-9DB623CE4AA8}" dt="2021-06-25T12:53:08.663" v="2181" actId="20577"/>
          <ac:spMkLst>
            <pc:docMk/>
            <pc:sldMk cId="2943330567" sldId="691"/>
            <ac:spMk id="4" creationId="{FF883EE0-20CA-4808-B8A6-DB4A88547EA0}"/>
          </ac:spMkLst>
        </pc:spChg>
        <pc:spChg chg="mod">
          <ac:chgData name="Contursi, Massimo" userId="S::mcontursi@minsait.com::c11fe434-fa63-4734-8d01-c2285712721e" providerId="AD" clId="Web-{2F0FBBA4-6481-4D41-87FB-9DB623CE4AA8}" dt="2021-06-25T12:53:05.506" v="2179" actId="20577"/>
          <ac:spMkLst>
            <pc:docMk/>
            <pc:sldMk cId="2943330567" sldId="691"/>
            <ac:spMk id="9" creationId="{92C4D6DD-881B-984A-9C92-27BA5BC27568}"/>
          </ac:spMkLst>
        </pc:spChg>
        <pc:picChg chg="add mod">
          <ac:chgData name="Contursi, Massimo" userId="S::mcontursi@minsait.com::c11fe434-fa63-4734-8d01-c2285712721e" providerId="AD" clId="Web-{2F0FBBA4-6481-4D41-87FB-9DB623CE4AA8}" dt="2021-06-25T12:53:31.429" v="2185" actId="1076"/>
          <ac:picMkLst>
            <pc:docMk/>
            <pc:sldMk cId="2943330567" sldId="691"/>
            <ac:picMk id="7" creationId="{1E636DDB-044B-40CE-B325-EC3407385B4C}"/>
          </ac:picMkLst>
        </pc:picChg>
      </pc:sldChg>
      <pc:sldChg chg="delSp modSp add replId">
        <pc:chgData name="Contursi, Massimo" userId="S::mcontursi@minsait.com::c11fe434-fa63-4734-8d01-c2285712721e" providerId="AD" clId="Web-{2F0FBBA4-6481-4D41-87FB-9DB623CE4AA8}" dt="2021-06-25T13:03:53.274" v="2519" actId="20577"/>
        <pc:sldMkLst>
          <pc:docMk/>
          <pc:sldMk cId="2216003609" sldId="692"/>
        </pc:sldMkLst>
        <pc:spChg chg="mod">
          <ac:chgData name="Contursi, Massimo" userId="S::mcontursi@minsait.com::c11fe434-fa63-4734-8d01-c2285712721e" providerId="AD" clId="Web-{2F0FBBA4-6481-4D41-87FB-9DB623CE4AA8}" dt="2021-06-25T13:03:53.274" v="2519" actId="20577"/>
          <ac:spMkLst>
            <pc:docMk/>
            <pc:sldMk cId="2216003609" sldId="692"/>
            <ac:spMk id="4" creationId="{FF883EE0-20CA-4808-B8A6-DB4A88547EA0}"/>
          </ac:spMkLst>
        </pc:spChg>
        <pc:spChg chg="mod">
          <ac:chgData name="Contursi, Massimo" userId="S::mcontursi@minsait.com::c11fe434-fa63-4734-8d01-c2285712721e" providerId="AD" clId="Web-{2F0FBBA4-6481-4D41-87FB-9DB623CE4AA8}" dt="2021-06-25T13:00:37.331" v="2212" actId="20577"/>
          <ac:spMkLst>
            <pc:docMk/>
            <pc:sldMk cId="2216003609" sldId="692"/>
            <ac:spMk id="9" creationId="{92C4D6DD-881B-984A-9C92-27BA5BC27568}"/>
          </ac:spMkLst>
        </pc:spChg>
        <pc:picChg chg="del">
          <ac:chgData name="Contursi, Massimo" userId="S::mcontursi@minsait.com::c11fe434-fa63-4734-8d01-c2285712721e" providerId="AD" clId="Web-{2F0FBBA4-6481-4D41-87FB-9DB623CE4AA8}" dt="2021-06-25T13:00:38.972" v="2213"/>
          <ac:picMkLst>
            <pc:docMk/>
            <pc:sldMk cId="2216003609" sldId="692"/>
            <ac:picMk id="7" creationId="{1E636DDB-044B-40CE-B325-EC3407385B4C}"/>
          </ac:picMkLst>
        </pc:picChg>
      </pc:sldChg>
      <pc:sldChg chg="delSp modSp add replId">
        <pc:chgData name="Contursi, Massimo" userId="S::mcontursi@minsait.com::c11fe434-fa63-4734-8d01-c2285712721e" providerId="AD" clId="Web-{2F0FBBA4-6481-4D41-87FB-9DB623CE4AA8}" dt="2021-06-25T13:30:29.911" v="3304" actId="20577"/>
        <pc:sldMkLst>
          <pc:docMk/>
          <pc:sldMk cId="39390720" sldId="693"/>
        </pc:sldMkLst>
        <pc:spChg chg="mod">
          <ac:chgData name="Contursi, Massimo" userId="S::mcontursi@minsait.com::c11fe434-fa63-4734-8d01-c2285712721e" providerId="AD" clId="Web-{2F0FBBA4-6481-4D41-87FB-9DB623CE4AA8}" dt="2021-06-25T13:30:29.911" v="3304" actId="20577"/>
          <ac:spMkLst>
            <pc:docMk/>
            <pc:sldMk cId="39390720" sldId="693"/>
            <ac:spMk id="4" creationId="{FF883EE0-20CA-4808-B8A6-DB4A88547EA0}"/>
          </ac:spMkLst>
        </pc:spChg>
        <pc:spChg chg="mod">
          <ac:chgData name="Contursi, Massimo" userId="S::mcontursi@minsait.com::c11fe434-fa63-4734-8d01-c2285712721e" providerId="AD" clId="Web-{2F0FBBA4-6481-4D41-87FB-9DB623CE4AA8}" dt="2021-06-25T13:11:09.442" v="2574" actId="20577"/>
          <ac:spMkLst>
            <pc:docMk/>
            <pc:sldMk cId="39390720" sldId="693"/>
            <ac:spMk id="9" creationId="{92C4D6DD-881B-984A-9C92-27BA5BC27568}"/>
          </ac:spMkLst>
        </pc:spChg>
        <pc:spChg chg="mod">
          <ac:chgData name="Contursi, Massimo" userId="S::mcontursi@minsait.com::c11fe434-fa63-4734-8d01-c2285712721e" providerId="AD" clId="Web-{2F0FBBA4-6481-4D41-87FB-9DB623CE4AA8}" dt="2021-06-25T13:30:16.833" v="3302" actId="1076"/>
          <ac:spMkLst>
            <pc:docMk/>
            <pc:sldMk cId="39390720" sldId="693"/>
            <ac:spMk id="11" creationId="{8FFCB682-A2FC-CA4B-AF1F-9B44DC3872A4}"/>
          </ac:spMkLst>
        </pc:spChg>
        <pc:picChg chg="del">
          <ac:chgData name="Contursi, Massimo" userId="S::mcontursi@minsait.com::c11fe434-fa63-4734-8d01-c2285712721e" providerId="AD" clId="Web-{2F0FBBA4-6481-4D41-87FB-9DB623CE4AA8}" dt="2021-06-25T13:05:06.573" v="2520"/>
          <ac:picMkLst>
            <pc:docMk/>
            <pc:sldMk cId="39390720" sldId="693"/>
            <ac:picMk id="7" creationId="{1E636DDB-044B-40CE-B325-EC3407385B4C}"/>
          </ac:picMkLst>
        </pc:picChg>
      </pc:sldChg>
      <pc:sldChg chg="delSp modSp add del replId">
        <pc:chgData name="Contursi, Massimo" userId="S::mcontursi@minsait.com::c11fe434-fa63-4734-8d01-c2285712721e" providerId="AD" clId="Web-{2F0FBBA4-6481-4D41-87FB-9DB623CE4AA8}" dt="2021-06-25T13:34:29.168" v="3357"/>
        <pc:sldMkLst>
          <pc:docMk/>
          <pc:sldMk cId="1113661057" sldId="694"/>
        </pc:sldMkLst>
        <pc:spChg chg="mod">
          <ac:chgData name="Contursi, Massimo" userId="S::mcontursi@minsait.com::c11fe434-fa63-4734-8d01-c2285712721e" providerId="AD" clId="Web-{2F0FBBA4-6481-4D41-87FB-9DB623CE4AA8}" dt="2021-06-25T13:31:25.007" v="3306" actId="20577"/>
          <ac:spMkLst>
            <pc:docMk/>
            <pc:sldMk cId="1113661057" sldId="694"/>
            <ac:spMk id="9" creationId="{92C4D6DD-881B-984A-9C92-27BA5BC27568}"/>
          </ac:spMkLst>
        </pc:spChg>
        <pc:spChg chg="mod">
          <ac:chgData name="Contursi, Massimo" userId="S::mcontursi@minsait.com::c11fe434-fa63-4734-8d01-c2285712721e" providerId="AD" clId="Web-{2F0FBBA4-6481-4D41-87FB-9DB623CE4AA8}" dt="2021-06-25T13:32:10.039" v="3315" actId="20577"/>
          <ac:spMkLst>
            <pc:docMk/>
            <pc:sldMk cId="1113661057" sldId="694"/>
            <ac:spMk id="11" creationId="{8FFCB682-A2FC-CA4B-AF1F-9B44DC3872A4}"/>
          </ac:spMkLst>
        </pc:spChg>
        <pc:picChg chg="del">
          <ac:chgData name="Contursi, Massimo" userId="S::mcontursi@minsait.com::c11fe434-fa63-4734-8d01-c2285712721e" providerId="AD" clId="Web-{2F0FBBA4-6481-4D41-87FB-9DB623CE4AA8}" dt="2021-06-25T13:31:26.147" v="3307"/>
          <ac:picMkLst>
            <pc:docMk/>
            <pc:sldMk cId="1113661057" sldId="694"/>
            <ac:picMk id="7" creationId="{1E636DDB-044B-40CE-B325-EC3407385B4C}"/>
          </ac:picMkLst>
        </pc:picChg>
      </pc:sldChg>
      <pc:sldChg chg="modSp add replId">
        <pc:chgData name="Contursi, Massimo" userId="S::mcontursi@minsait.com::c11fe434-fa63-4734-8d01-c2285712721e" providerId="AD" clId="Web-{2F0FBBA4-6481-4D41-87FB-9DB623CE4AA8}" dt="2021-06-25T13:07:09.857" v="2573" actId="20577"/>
        <pc:sldMkLst>
          <pc:docMk/>
          <pc:sldMk cId="256089364" sldId="695"/>
        </pc:sldMkLst>
        <pc:spChg chg="mod">
          <ac:chgData name="Contursi, Massimo" userId="S::mcontursi@minsait.com::c11fe434-fa63-4734-8d01-c2285712721e" providerId="AD" clId="Web-{2F0FBBA4-6481-4D41-87FB-9DB623CE4AA8}" dt="2021-06-25T13:07:09.857" v="2573" actId="20577"/>
          <ac:spMkLst>
            <pc:docMk/>
            <pc:sldMk cId="256089364" sldId="695"/>
            <ac:spMk id="4" creationId="{FF883EE0-20CA-4808-B8A6-DB4A88547EA0}"/>
          </ac:spMkLst>
        </pc:spChg>
      </pc:sldChg>
      <pc:sldChg chg="modSp add replId">
        <pc:chgData name="Contursi, Massimo" userId="S::mcontursi@minsait.com::c11fe434-fa63-4734-8d01-c2285712721e" providerId="AD" clId="Web-{2F0FBBA4-6481-4D41-87FB-9DB623CE4AA8}" dt="2021-06-25T13:33:57.339" v="3356" actId="20577"/>
        <pc:sldMkLst>
          <pc:docMk/>
          <pc:sldMk cId="1845428514" sldId="696"/>
        </pc:sldMkLst>
        <pc:spChg chg="mod">
          <ac:chgData name="Contursi, Massimo" userId="S::mcontursi@minsait.com::c11fe434-fa63-4734-8d01-c2285712721e" providerId="AD" clId="Web-{2F0FBBA4-6481-4D41-87FB-9DB623CE4AA8}" dt="2021-06-25T13:33:50.776" v="3351" actId="20577"/>
          <ac:spMkLst>
            <pc:docMk/>
            <pc:sldMk cId="1845428514" sldId="696"/>
            <ac:spMk id="4" creationId="{FF883EE0-20CA-4808-B8A6-DB4A88547EA0}"/>
          </ac:spMkLst>
        </pc:spChg>
        <pc:spChg chg="mod">
          <ac:chgData name="Contursi, Massimo" userId="S::mcontursi@minsait.com::c11fe434-fa63-4734-8d01-c2285712721e" providerId="AD" clId="Web-{2F0FBBA4-6481-4D41-87FB-9DB623CE4AA8}" dt="2021-06-25T13:33:57.339" v="3356" actId="20577"/>
          <ac:spMkLst>
            <pc:docMk/>
            <pc:sldMk cId="1845428514" sldId="696"/>
            <ac:spMk id="9" creationId="{92C4D6DD-881B-984A-9C92-27BA5BC27568}"/>
          </ac:spMkLst>
        </pc:spChg>
      </pc:sldChg>
    </pc:docChg>
  </pc:docChgLst>
  <pc:docChgLst>
    <pc:chgData name="Contursi, Massimo" userId="S::mcontursi@minsait.com::c11fe434-fa63-4734-8d01-c2285712721e" providerId="AD" clId="Web-{1D271E6F-654A-444A-9CD0-A95E0FA8E0F6}"/>
    <pc:docChg chg="addSld modSld">
      <pc:chgData name="Contursi, Massimo" userId="S::mcontursi@minsait.com::c11fe434-fa63-4734-8d01-c2285712721e" providerId="AD" clId="Web-{1D271E6F-654A-444A-9CD0-A95E0FA8E0F6}" dt="2021-06-25T21:53:36.082" v="315" actId="1076"/>
      <pc:docMkLst>
        <pc:docMk/>
      </pc:docMkLst>
      <pc:sldChg chg="modSp">
        <pc:chgData name="Contursi, Massimo" userId="S::mcontursi@minsait.com::c11fe434-fa63-4734-8d01-c2285712721e" providerId="AD" clId="Web-{1D271E6F-654A-444A-9CD0-A95E0FA8E0F6}" dt="2021-06-25T21:20:05.332" v="29" actId="1076"/>
        <pc:sldMkLst>
          <pc:docMk/>
          <pc:sldMk cId="282654030" sldId="676"/>
        </pc:sldMkLst>
        <pc:picChg chg="mod">
          <ac:chgData name="Contursi, Massimo" userId="S::mcontursi@minsait.com::c11fe434-fa63-4734-8d01-c2285712721e" providerId="AD" clId="Web-{1D271E6F-654A-444A-9CD0-A95E0FA8E0F6}" dt="2021-06-25T21:20:05.332" v="29" actId="1076"/>
          <ac:picMkLst>
            <pc:docMk/>
            <pc:sldMk cId="282654030" sldId="676"/>
            <ac:picMk id="16" creationId="{4ECF1829-715E-45E3-8D37-7A817277BECE}"/>
          </ac:picMkLst>
        </pc:picChg>
      </pc:sldChg>
      <pc:sldChg chg="addSp modSp">
        <pc:chgData name="Contursi, Massimo" userId="S::mcontursi@minsait.com::c11fe434-fa63-4734-8d01-c2285712721e" providerId="AD" clId="Web-{1D271E6F-654A-444A-9CD0-A95E0FA8E0F6}" dt="2021-06-25T21:30:29.407" v="145" actId="14100"/>
        <pc:sldMkLst>
          <pc:docMk/>
          <pc:sldMk cId="1913011545" sldId="683"/>
        </pc:sldMkLst>
        <pc:spChg chg="add mod">
          <ac:chgData name="Contursi, Massimo" userId="S::mcontursi@minsait.com::c11fe434-fa63-4734-8d01-c2285712721e" providerId="AD" clId="Web-{1D271E6F-654A-444A-9CD0-A95E0FA8E0F6}" dt="2021-06-25T21:17:43.079" v="8" actId="20577"/>
          <ac:spMkLst>
            <pc:docMk/>
            <pc:sldMk cId="1913011545" sldId="683"/>
            <ac:spMk id="4" creationId="{7C0D9D1A-F00F-4F9C-8CD4-C8EFD30930EB}"/>
          </ac:spMkLst>
        </pc:spChg>
        <pc:spChg chg="mod">
          <ac:chgData name="Contursi, Massimo" userId="S::mcontursi@minsait.com::c11fe434-fa63-4734-8d01-c2285712721e" providerId="AD" clId="Web-{1D271E6F-654A-444A-9CD0-A95E0FA8E0F6}" dt="2021-06-25T21:21:38.310" v="73" actId="20577"/>
          <ac:spMkLst>
            <pc:docMk/>
            <pc:sldMk cId="1913011545" sldId="683"/>
            <ac:spMk id="9" creationId="{92C4D6DD-881B-984A-9C92-27BA5BC27568}"/>
          </ac:spMkLst>
        </pc:spChg>
        <pc:spChg chg="mod">
          <ac:chgData name="Contursi, Massimo" userId="S::mcontursi@minsait.com::c11fe434-fa63-4734-8d01-c2285712721e" providerId="AD" clId="Web-{1D271E6F-654A-444A-9CD0-A95E0FA8E0F6}" dt="2021-06-25T21:26:29.027" v="127" actId="14100"/>
          <ac:spMkLst>
            <pc:docMk/>
            <pc:sldMk cId="1913011545" sldId="683"/>
            <ac:spMk id="10" creationId="{8FFCB682-A2FC-CA4B-AF1F-9B44DC3872A4}"/>
          </ac:spMkLst>
        </pc:spChg>
        <pc:spChg chg="add mod">
          <ac:chgData name="Contursi, Massimo" userId="S::mcontursi@minsait.com::c11fe434-fa63-4734-8d01-c2285712721e" providerId="AD" clId="Web-{1D271E6F-654A-444A-9CD0-A95E0FA8E0F6}" dt="2021-06-25T21:30:27.860" v="143" actId="20577"/>
          <ac:spMkLst>
            <pc:docMk/>
            <pc:sldMk cId="1913011545" sldId="683"/>
            <ac:spMk id="12" creationId="{8A211669-F32C-42CA-A839-F9D4B4CE8B56}"/>
          </ac:spMkLst>
        </pc:spChg>
        <pc:spChg chg="mod">
          <ac:chgData name="Contursi, Massimo" userId="S::mcontursi@minsait.com::c11fe434-fa63-4734-8d01-c2285712721e" providerId="AD" clId="Web-{1D271E6F-654A-444A-9CD0-A95E0FA8E0F6}" dt="2021-06-25T21:26:29.137" v="129" actId="1076"/>
          <ac:spMkLst>
            <pc:docMk/>
            <pc:sldMk cId="1913011545" sldId="683"/>
            <ac:spMk id="13" creationId="{9CDFBC7B-A687-4790-BD6A-373EF9689E14}"/>
          </ac:spMkLst>
        </pc:spChg>
        <pc:picChg chg="add mod">
          <ac:chgData name="Contursi, Massimo" userId="S::mcontursi@minsait.com::c11fe434-fa63-4734-8d01-c2285712721e" providerId="AD" clId="Web-{1D271E6F-654A-444A-9CD0-A95E0FA8E0F6}" dt="2021-06-25T21:30:29.407" v="145" actId="14100"/>
          <ac:picMkLst>
            <pc:docMk/>
            <pc:sldMk cId="1913011545" sldId="683"/>
            <ac:picMk id="14" creationId="{EC76356D-963A-4F37-8F23-A4E029D5C098}"/>
          </ac:picMkLst>
        </pc:picChg>
      </pc:sldChg>
      <pc:sldChg chg="addSp delSp modSp add replId">
        <pc:chgData name="Contursi, Massimo" userId="S::mcontursi@minsait.com::c11fe434-fa63-4734-8d01-c2285712721e" providerId="AD" clId="Web-{1D271E6F-654A-444A-9CD0-A95E0FA8E0F6}" dt="2021-06-25T21:43:20.658" v="235" actId="20577"/>
        <pc:sldMkLst>
          <pc:docMk/>
          <pc:sldMk cId="202388996" sldId="698"/>
        </pc:sldMkLst>
        <pc:spChg chg="mod">
          <ac:chgData name="Contursi, Massimo" userId="S::mcontursi@minsait.com::c11fe434-fa63-4734-8d01-c2285712721e" providerId="AD" clId="Web-{1D271E6F-654A-444A-9CD0-A95E0FA8E0F6}" dt="2021-06-25T21:36:07.414" v="209" actId="1076"/>
          <ac:spMkLst>
            <pc:docMk/>
            <pc:sldMk cId="202388996" sldId="698"/>
            <ac:spMk id="4" creationId="{7C0D9D1A-F00F-4F9C-8CD4-C8EFD30930EB}"/>
          </ac:spMkLst>
        </pc:spChg>
        <pc:spChg chg="mod">
          <ac:chgData name="Contursi, Massimo" userId="S::mcontursi@minsait.com::c11fe434-fa63-4734-8d01-c2285712721e" providerId="AD" clId="Web-{1D271E6F-654A-444A-9CD0-A95E0FA8E0F6}" dt="2021-06-25T21:43:20.658" v="235" actId="20577"/>
          <ac:spMkLst>
            <pc:docMk/>
            <pc:sldMk cId="202388996" sldId="698"/>
            <ac:spMk id="7" creationId="{BE42C93B-682E-4B69-A75B-B76ECDB7F715}"/>
          </ac:spMkLst>
        </pc:spChg>
        <pc:spChg chg="mod">
          <ac:chgData name="Contursi, Massimo" userId="S::mcontursi@minsait.com::c11fe434-fa63-4734-8d01-c2285712721e" providerId="AD" clId="Web-{1D271E6F-654A-444A-9CD0-A95E0FA8E0F6}" dt="2021-06-25T21:34:10.803" v="182" actId="1076"/>
          <ac:spMkLst>
            <pc:docMk/>
            <pc:sldMk cId="202388996" sldId="698"/>
            <ac:spMk id="12" creationId="{8A211669-F32C-42CA-A839-F9D4B4CE8B56}"/>
          </ac:spMkLst>
        </pc:spChg>
        <pc:spChg chg="mod">
          <ac:chgData name="Contursi, Massimo" userId="S::mcontursi@minsait.com::c11fe434-fa63-4734-8d01-c2285712721e" providerId="AD" clId="Web-{1D271E6F-654A-444A-9CD0-A95E0FA8E0F6}" dt="2021-06-25T21:34:41.334" v="189" actId="1076"/>
          <ac:spMkLst>
            <pc:docMk/>
            <pc:sldMk cId="202388996" sldId="698"/>
            <ac:spMk id="13" creationId="{9CDFBC7B-A687-4790-BD6A-373EF9689E14}"/>
          </ac:spMkLst>
        </pc:spChg>
        <pc:spChg chg="add mod">
          <ac:chgData name="Contursi, Massimo" userId="S::mcontursi@minsait.com::c11fe434-fa63-4734-8d01-c2285712721e" providerId="AD" clId="Web-{1D271E6F-654A-444A-9CD0-A95E0FA8E0F6}" dt="2021-06-25T21:34:13.303" v="183" actId="20577"/>
          <ac:spMkLst>
            <pc:docMk/>
            <pc:sldMk cId="202388996" sldId="698"/>
            <ac:spMk id="15" creationId="{CBB9333F-410F-44F0-BE75-0FF2747FF1C3}"/>
          </ac:spMkLst>
        </pc:spChg>
        <pc:spChg chg="add del">
          <ac:chgData name="Contursi, Massimo" userId="S::mcontursi@minsait.com::c11fe434-fa63-4734-8d01-c2285712721e" providerId="AD" clId="Web-{1D271E6F-654A-444A-9CD0-A95E0FA8E0F6}" dt="2021-06-25T21:36:13.039" v="211"/>
          <ac:spMkLst>
            <pc:docMk/>
            <pc:sldMk cId="202388996" sldId="698"/>
            <ac:spMk id="17" creationId="{A00A86D3-9336-4E1B-8B41-AF929FF467A0}"/>
          </ac:spMkLst>
        </pc:spChg>
        <pc:picChg chg="del">
          <ac:chgData name="Contursi, Massimo" userId="S::mcontursi@minsait.com::c11fe434-fa63-4734-8d01-c2285712721e" providerId="AD" clId="Web-{1D271E6F-654A-444A-9CD0-A95E0FA8E0F6}" dt="2021-06-25T21:31:25.971" v="160"/>
          <ac:picMkLst>
            <pc:docMk/>
            <pc:sldMk cId="202388996" sldId="698"/>
            <ac:picMk id="14" creationId="{EC76356D-963A-4F37-8F23-A4E029D5C098}"/>
          </ac:picMkLst>
        </pc:picChg>
        <pc:picChg chg="add del mod">
          <ac:chgData name="Contursi, Massimo" userId="S::mcontursi@minsait.com::c11fe434-fa63-4734-8d01-c2285712721e" providerId="AD" clId="Web-{1D271E6F-654A-444A-9CD0-A95E0FA8E0F6}" dt="2021-06-25T21:41:35.484" v="215"/>
          <ac:picMkLst>
            <pc:docMk/>
            <pc:sldMk cId="202388996" sldId="698"/>
            <ac:picMk id="16" creationId="{E283042C-9787-4596-BE8E-B227CA2DD97A}"/>
          </ac:picMkLst>
        </pc:picChg>
        <pc:picChg chg="add mod">
          <ac:chgData name="Contursi, Massimo" userId="S::mcontursi@minsait.com::c11fe434-fa63-4734-8d01-c2285712721e" providerId="AD" clId="Web-{1D271E6F-654A-444A-9CD0-A95E0FA8E0F6}" dt="2021-06-25T21:41:35.781" v="221" actId="1076"/>
          <ac:picMkLst>
            <pc:docMk/>
            <pc:sldMk cId="202388996" sldId="698"/>
            <ac:picMk id="18" creationId="{D1B7BCEC-4689-4777-869A-842231A80163}"/>
          </ac:picMkLst>
        </pc:picChg>
        <pc:picChg chg="add mod">
          <ac:chgData name="Contursi, Massimo" userId="S::mcontursi@minsait.com::c11fe434-fa63-4734-8d01-c2285712721e" providerId="AD" clId="Web-{1D271E6F-654A-444A-9CD0-A95E0FA8E0F6}" dt="2021-06-25T21:42:44.516" v="226" actId="14100"/>
          <ac:picMkLst>
            <pc:docMk/>
            <pc:sldMk cId="202388996" sldId="698"/>
            <ac:picMk id="19" creationId="{9CA37588-7556-4BF4-B30A-202B54E7BA80}"/>
          </ac:picMkLst>
        </pc:picChg>
      </pc:sldChg>
      <pc:sldChg chg="add replId">
        <pc:chgData name="Contursi, Massimo" userId="S::mcontursi@minsait.com::c11fe434-fa63-4734-8d01-c2285712721e" providerId="AD" clId="Web-{1D271E6F-654A-444A-9CD0-A95E0FA8E0F6}" dt="2021-06-25T21:30:52.752" v="147"/>
        <pc:sldMkLst>
          <pc:docMk/>
          <pc:sldMk cId="507281792" sldId="699"/>
        </pc:sldMkLst>
      </pc:sldChg>
      <pc:sldChg chg="addSp delSp modSp add replId">
        <pc:chgData name="Contursi, Massimo" userId="S::mcontursi@minsait.com::c11fe434-fa63-4734-8d01-c2285712721e" providerId="AD" clId="Web-{1D271E6F-654A-444A-9CD0-A95E0FA8E0F6}" dt="2021-06-25T21:53:36.082" v="315" actId="1076"/>
        <pc:sldMkLst>
          <pc:docMk/>
          <pc:sldMk cId="1946105283" sldId="700"/>
        </pc:sldMkLst>
        <pc:spChg chg="mod">
          <ac:chgData name="Contursi, Massimo" userId="S::mcontursi@minsait.com::c11fe434-fa63-4734-8d01-c2285712721e" providerId="AD" clId="Web-{1D271E6F-654A-444A-9CD0-A95E0FA8E0F6}" dt="2021-06-25T21:45:50.588" v="246" actId="20577"/>
          <ac:spMkLst>
            <pc:docMk/>
            <pc:sldMk cId="1946105283" sldId="700"/>
            <ac:spMk id="4" creationId="{7C0D9D1A-F00F-4F9C-8CD4-C8EFD30930EB}"/>
          </ac:spMkLst>
        </pc:spChg>
        <pc:spChg chg="mod">
          <ac:chgData name="Contursi, Massimo" userId="S::mcontursi@minsait.com::c11fe434-fa63-4734-8d01-c2285712721e" providerId="AD" clId="Web-{1D271E6F-654A-444A-9CD0-A95E0FA8E0F6}" dt="2021-06-25T21:45:54.401" v="248" actId="20577"/>
          <ac:spMkLst>
            <pc:docMk/>
            <pc:sldMk cId="1946105283" sldId="700"/>
            <ac:spMk id="7" creationId="{BE42C93B-682E-4B69-A75B-B76ECDB7F715}"/>
          </ac:spMkLst>
        </pc:spChg>
        <pc:spChg chg="mod">
          <ac:chgData name="Contursi, Massimo" userId="S::mcontursi@minsait.com::c11fe434-fa63-4734-8d01-c2285712721e" providerId="AD" clId="Web-{1D271E6F-654A-444A-9CD0-A95E0FA8E0F6}" dt="2021-06-25T21:53:20.097" v="309" actId="14100"/>
          <ac:spMkLst>
            <pc:docMk/>
            <pc:sldMk cId="1946105283" sldId="700"/>
            <ac:spMk id="13" creationId="{9CDFBC7B-A687-4790-BD6A-373EF9689E14}"/>
          </ac:spMkLst>
        </pc:spChg>
        <pc:picChg chg="add mod">
          <ac:chgData name="Contursi, Massimo" userId="S::mcontursi@minsait.com::c11fe434-fa63-4734-8d01-c2285712721e" providerId="AD" clId="Web-{1D271E6F-654A-444A-9CD0-A95E0FA8E0F6}" dt="2021-06-25T21:53:36.082" v="315" actId="1076"/>
          <ac:picMkLst>
            <pc:docMk/>
            <pc:sldMk cId="1946105283" sldId="700"/>
            <ac:picMk id="14" creationId="{0755EF5F-AD78-43D3-B867-73047CAD09AF}"/>
          </ac:picMkLst>
        </pc:picChg>
        <pc:picChg chg="del">
          <ac:chgData name="Contursi, Massimo" userId="S::mcontursi@minsait.com::c11fe434-fa63-4734-8d01-c2285712721e" providerId="AD" clId="Web-{1D271E6F-654A-444A-9CD0-A95E0FA8E0F6}" dt="2021-06-25T21:45:44.182" v="237"/>
          <ac:picMkLst>
            <pc:docMk/>
            <pc:sldMk cId="1946105283" sldId="700"/>
            <ac:picMk id="18" creationId="{D1B7BCEC-4689-4777-869A-842231A80163}"/>
          </ac:picMkLst>
        </pc:picChg>
        <pc:picChg chg="del">
          <ac:chgData name="Contursi, Massimo" userId="S::mcontursi@minsait.com::c11fe434-fa63-4734-8d01-c2285712721e" providerId="AD" clId="Web-{1D271E6F-654A-444A-9CD0-A95E0FA8E0F6}" dt="2021-06-25T21:45:44.354" v="238"/>
          <ac:picMkLst>
            <pc:docMk/>
            <pc:sldMk cId="1946105283" sldId="700"/>
            <ac:picMk id="19" creationId="{9CA37588-7556-4BF4-B30A-202B54E7BA80}"/>
          </ac:picMkLst>
        </pc:picChg>
      </pc:sldChg>
    </pc:docChg>
  </pc:docChgLst>
  <pc:docChgLst>
    <pc:chgData name="Contursi, Massimo" userId="S::mcontursi@minsait.com::c11fe434-fa63-4734-8d01-c2285712721e" providerId="AD" clId="Web-{52D2FE29-C9E6-46C7-BE62-1DE9E2E6DF1C}"/>
    <pc:docChg chg="addSld modSld">
      <pc:chgData name="Contursi, Massimo" userId="S::mcontursi@minsait.com::c11fe434-fa63-4734-8d01-c2285712721e" providerId="AD" clId="Web-{52D2FE29-C9E6-46C7-BE62-1DE9E2E6DF1C}" dt="2021-06-24T16:40:17.358" v="263" actId="20577"/>
      <pc:docMkLst>
        <pc:docMk/>
      </pc:docMkLst>
      <pc:sldChg chg="addSp delSp modSp add replId">
        <pc:chgData name="Contursi, Massimo" userId="S::mcontursi@minsait.com::c11fe434-fa63-4734-8d01-c2285712721e" providerId="AD" clId="Web-{52D2FE29-C9E6-46C7-BE62-1DE9E2E6DF1C}" dt="2021-06-24T16:29:47.047" v="95" actId="20577"/>
        <pc:sldMkLst>
          <pc:docMk/>
          <pc:sldMk cId="498877206" sldId="671"/>
        </pc:sldMkLst>
        <pc:spChg chg="mod">
          <ac:chgData name="Contursi, Massimo" userId="S::mcontursi@minsait.com::c11fe434-fa63-4734-8d01-c2285712721e" providerId="AD" clId="Web-{52D2FE29-C9E6-46C7-BE62-1DE9E2E6DF1C}" dt="2021-06-24T16:22:53.038" v="6" actId="20577"/>
          <ac:spMkLst>
            <pc:docMk/>
            <pc:sldMk cId="498877206" sldId="671"/>
            <ac:spMk id="9" creationId="{92C4D6DD-881B-984A-9C92-27BA5BC27568}"/>
          </ac:spMkLst>
        </pc:spChg>
        <pc:spChg chg="add mod">
          <ac:chgData name="Contursi, Massimo" userId="S::mcontursi@minsait.com::c11fe434-fa63-4734-8d01-c2285712721e" providerId="AD" clId="Web-{52D2FE29-C9E6-46C7-BE62-1DE9E2E6DF1C}" dt="2021-06-24T16:29:47.047" v="95" actId="20577"/>
          <ac:spMkLst>
            <pc:docMk/>
            <pc:sldMk cId="498877206" sldId="671"/>
            <ac:spMk id="12" creationId="{126D343F-9F75-40A1-8F58-8E64DF4C655C}"/>
          </ac:spMkLst>
        </pc:spChg>
        <pc:picChg chg="del">
          <ac:chgData name="Contursi, Massimo" userId="S::mcontursi@minsait.com::c11fe434-fa63-4734-8d01-c2285712721e" providerId="AD" clId="Web-{52D2FE29-C9E6-46C7-BE62-1DE9E2E6DF1C}" dt="2021-06-24T16:22:55.303" v="7"/>
          <ac:picMkLst>
            <pc:docMk/>
            <pc:sldMk cId="498877206" sldId="671"/>
            <ac:picMk id="8" creationId="{6312368C-5167-4648-A2DC-804E2AA250E1}"/>
          </ac:picMkLst>
        </pc:picChg>
      </pc:sldChg>
      <pc:sldChg chg="addSp modSp add replId">
        <pc:chgData name="Contursi, Massimo" userId="S::mcontursi@minsait.com::c11fe434-fa63-4734-8d01-c2285712721e" providerId="AD" clId="Web-{52D2FE29-C9E6-46C7-BE62-1DE9E2E6DF1C}" dt="2021-06-24T16:32:10.785" v="122" actId="1076"/>
        <pc:sldMkLst>
          <pc:docMk/>
          <pc:sldMk cId="1095133272" sldId="672"/>
        </pc:sldMkLst>
        <pc:spChg chg="mod">
          <ac:chgData name="Contursi, Massimo" userId="S::mcontursi@minsait.com::c11fe434-fa63-4734-8d01-c2285712721e" providerId="AD" clId="Web-{52D2FE29-C9E6-46C7-BE62-1DE9E2E6DF1C}" dt="2021-06-24T16:32:01.409" v="119" actId="14100"/>
          <ac:spMkLst>
            <pc:docMk/>
            <pc:sldMk cId="1095133272" sldId="672"/>
            <ac:spMk id="12" creationId="{126D343F-9F75-40A1-8F58-8E64DF4C655C}"/>
          </ac:spMkLst>
        </pc:spChg>
        <pc:picChg chg="add mod">
          <ac:chgData name="Contursi, Massimo" userId="S::mcontursi@minsait.com::c11fe434-fa63-4734-8d01-c2285712721e" providerId="AD" clId="Web-{52D2FE29-C9E6-46C7-BE62-1DE9E2E6DF1C}" dt="2021-06-24T16:32:10.785" v="122" actId="1076"/>
          <ac:picMkLst>
            <pc:docMk/>
            <pc:sldMk cId="1095133272" sldId="672"/>
            <ac:picMk id="8" creationId="{9EB44098-F4C3-4C8E-97D9-67EAD866651B}"/>
          </ac:picMkLst>
        </pc:picChg>
      </pc:sldChg>
      <pc:sldChg chg="addSp modSp add replId">
        <pc:chgData name="Contursi, Massimo" userId="S::mcontursi@minsait.com::c11fe434-fa63-4734-8d01-c2285712721e" providerId="AD" clId="Web-{52D2FE29-C9E6-46C7-BE62-1DE9E2E6DF1C}" dt="2021-06-24T16:37:34.745" v="227" actId="1076"/>
        <pc:sldMkLst>
          <pc:docMk/>
          <pc:sldMk cId="4002815814" sldId="673"/>
        </pc:sldMkLst>
        <pc:spChg chg="mod">
          <ac:chgData name="Contursi, Massimo" userId="S::mcontursi@minsait.com::c11fe434-fa63-4734-8d01-c2285712721e" providerId="AD" clId="Web-{52D2FE29-C9E6-46C7-BE62-1DE9E2E6DF1C}" dt="2021-06-24T16:35:14.148" v="141" actId="20577"/>
          <ac:spMkLst>
            <pc:docMk/>
            <pc:sldMk cId="4002815814" sldId="673"/>
            <ac:spMk id="12" creationId="{126D343F-9F75-40A1-8F58-8E64DF4C655C}"/>
          </ac:spMkLst>
        </pc:spChg>
        <pc:spChg chg="add mod">
          <ac:chgData name="Contursi, Massimo" userId="S::mcontursi@minsait.com::c11fe434-fa63-4734-8d01-c2285712721e" providerId="AD" clId="Web-{52D2FE29-C9E6-46C7-BE62-1DE9E2E6DF1C}" dt="2021-06-24T16:37:27.823" v="226" actId="20577"/>
          <ac:spMkLst>
            <pc:docMk/>
            <pc:sldMk cId="4002815814" sldId="673"/>
            <ac:spMk id="13" creationId="{CB0E0B21-431D-4143-86D8-0637DECEBC49}"/>
          </ac:spMkLst>
        </pc:spChg>
        <pc:spChg chg="add mod">
          <ac:chgData name="Contursi, Massimo" userId="S::mcontursi@minsait.com::c11fe434-fa63-4734-8d01-c2285712721e" providerId="AD" clId="Web-{52D2FE29-C9E6-46C7-BE62-1DE9E2E6DF1C}" dt="2021-06-24T16:35:54.993" v="154" actId="20577"/>
          <ac:spMkLst>
            <pc:docMk/>
            <pc:sldMk cId="4002815814" sldId="673"/>
            <ac:spMk id="14" creationId="{81CF6F74-5EED-4A69-83FF-734D0341C228}"/>
          </ac:spMkLst>
        </pc:spChg>
        <pc:picChg chg="add mod">
          <ac:chgData name="Contursi, Massimo" userId="S::mcontursi@minsait.com::c11fe434-fa63-4734-8d01-c2285712721e" providerId="AD" clId="Web-{52D2FE29-C9E6-46C7-BE62-1DE9E2E6DF1C}" dt="2021-06-24T16:37:34.745" v="227" actId="1076"/>
          <ac:picMkLst>
            <pc:docMk/>
            <pc:sldMk cId="4002815814" sldId="673"/>
            <ac:picMk id="8" creationId="{7A488491-B12A-4AD8-A941-003AB71D583E}"/>
          </ac:picMkLst>
        </pc:picChg>
      </pc:sldChg>
      <pc:sldChg chg="addSp delSp modSp add replId">
        <pc:chgData name="Contursi, Massimo" userId="S::mcontursi@minsait.com::c11fe434-fa63-4734-8d01-c2285712721e" providerId="AD" clId="Web-{52D2FE29-C9E6-46C7-BE62-1DE9E2E6DF1C}" dt="2021-06-24T16:40:17.358" v="263" actId="20577"/>
        <pc:sldMkLst>
          <pc:docMk/>
          <pc:sldMk cId="26047570" sldId="674"/>
        </pc:sldMkLst>
        <pc:spChg chg="mod">
          <ac:chgData name="Contursi, Massimo" userId="S::mcontursi@minsait.com::c11fe434-fa63-4734-8d01-c2285712721e" providerId="AD" clId="Web-{52D2FE29-C9E6-46C7-BE62-1DE9E2E6DF1C}" dt="2021-06-24T16:38:51.654" v="247" actId="20577"/>
          <ac:spMkLst>
            <pc:docMk/>
            <pc:sldMk cId="26047570" sldId="674"/>
            <ac:spMk id="12" creationId="{126D343F-9F75-40A1-8F58-8E64DF4C655C}"/>
          </ac:spMkLst>
        </pc:spChg>
        <pc:spChg chg="mod">
          <ac:chgData name="Contursi, Massimo" userId="S::mcontursi@minsait.com::c11fe434-fa63-4734-8d01-c2285712721e" providerId="AD" clId="Web-{52D2FE29-C9E6-46C7-BE62-1DE9E2E6DF1C}" dt="2021-06-24T16:40:17.358" v="263" actId="20577"/>
          <ac:spMkLst>
            <pc:docMk/>
            <pc:sldMk cId="26047570" sldId="674"/>
            <ac:spMk id="13" creationId="{CB0E0B21-431D-4143-86D8-0637DECEBC49}"/>
          </ac:spMkLst>
        </pc:spChg>
        <pc:picChg chg="del">
          <ac:chgData name="Contursi, Massimo" userId="S::mcontursi@minsait.com::c11fe434-fa63-4734-8d01-c2285712721e" providerId="AD" clId="Web-{52D2FE29-C9E6-46C7-BE62-1DE9E2E6DF1C}" dt="2021-06-24T16:37:54.574" v="238"/>
          <ac:picMkLst>
            <pc:docMk/>
            <pc:sldMk cId="26047570" sldId="674"/>
            <ac:picMk id="8" creationId="{7A488491-B12A-4AD8-A941-003AB71D583E}"/>
          </ac:picMkLst>
        </pc:picChg>
        <pc:picChg chg="add mod">
          <ac:chgData name="Contursi, Massimo" userId="S::mcontursi@minsait.com::c11fe434-fa63-4734-8d01-c2285712721e" providerId="AD" clId="Web-{52D2FE29-C9E6-46C7-BE62-1DE9E2E6DF1C}" dt="2021-06-24T16:39:32.999" v="251" actId="14100"/>
          <ac:picMkLst>
            <pc:docMk/>
            <pc:sldMk cId="26047570" sldId="674"/>
            <ac:picMk id="15" creationId="{DFEB8AEC-249A-433D-A85A-2B34A3B4D1FC}"/>
          </ac:picMkLst>
        </pc:picChg>
      </pc:sldChg>
    </pc:docChg>
  </pc:docChgLst>
  <pc:docChgLst>
    <pc:chgData name="Scopinaro, Nicola" userId="S::nscopinaro@minsait.com::eb8d673b-84cc-4b06-b16a-a631b6e7e333" providerId="AD" clId="Web-{77DD86A6-2304-E7E0-EC68-A90832D5C402}"/>
    <pc:docChg chg="delSld modSld">
      <pc:chgData name="Scopinaro, Nicola" userId="S::nscopinaro@minsait.com::eb8d673b-84cc-4b06-b16a-a631b6e7e333" providerId="AD" clId="Web-{77DD86A6-2304-E7E0-EC68-A90832D5C402}" dt="2021-07-02T07:56:24.537" v="39"/>
      <pc:docMkLst>
        <pc:docMk/>
      </pc:docMkLst>
      <pc:sldChg chg="del">
        <pc:chgData name="Scopinaro, Nicola" userId="S::nscopinaro@minsait.com::eb8d673b-84cc-4b06-b16a-a631b6e7e333" providerId="AD" clId="Web-{77DD86A6-2304-E7E0-EC68-A90832D5C402}" dt="2021-07-02T07:56:10.927" v="38"/>
        <pc:sldMkLst>
          <pc:docMk/>
          <pc:sldMk cId="1471350083" sldId="388"/>
        </pc:sldMkLst>
      </pc:sldChg>
      <pc:sldChg chg="del">
        <pc:chgData name="Scopinaro, Nicola" userId="S::nscopinaro@minsait.com::eb8d673b-84cc-4b06-b16a-a631b6e7e333" providerId="AD" clId="Web-{77DD86A6-2304-E7E0-EC68-A90832D5C402}" dt="2021-07-02T07:56:10.099" v="10"/>
        <pc:sldMkLst>
          <pc:docMk/>
          <pc:sldMk cId="3753667108" sldId="500"/>
        </pc:sldMkLst>
      </pc:sldChg>
      <pc:sldChg chg="addSp modSp">
        <pc:chgData name="Scopinaro, Nicola" userId="S::nscopinaro@minsait.com::eb8d673b-84cc-4b06-b16a-a631b6e7e333" providerId="AD" clId="Web-{77DD86A6-2304-E7E0-EC68-A90832D5C402}" dt="2021-07-02T07:56:24.537" v="39"/>
        <pc:sldMkLst>
          <pc:docMk/>
          <pc:sldMk cId="3167092940" sldId="577"/>
        </pc:sldMkLst>
        <pc:picChg chg="add mod">
          <ac:chgData name="Scopinaro, Nicola" userId="S::nscopinaro@minsait.com::eb8d673b-84cc-4b06-b16a-a631b6e7e333" providerId="AD" clId="Web-{77DD86A6-2304-E7E0-EC68-A90832D5C402}" dt="2021-07-02T07:56:24.537" v="39"/>
          <ac:picMkLst>
            <pc:docMk/>
            <pc:sldMk cId="3167092940" sldId="577"/>
            <ac:picMk id="3" creationId="{6E4A0FFC-4E95-4CD9-8FFD-201938C9C7F2}"/>
          </ac:picMkLst>
        </pc:picChg>
      </pc:sldChg>
      <pc:sldChg chg="del">
        <pc:chgData name="Scopinaro, Nicola" userId="S::nscopinaro@minsait.com::eb8d673b-84cc-4b06-b16a-a631b6e7e333" providerId="AD" clId="Web-{77DD86A6-2304-E7E0-EC68-A90832D5C402}" dt="2021-07-02T07:56:10.896" v="37"/>
        <pc:sldMkLst>
          <pc:docMk/>
          <pc:sldMk cId="917060092" sldId="578"/>
        </pc:sldMkLst>
      </pc:sldChg>
      <pc:sldChg chg="del">
        <pc:chgData name="Scopinaro, Nicola" userId="S::nscopinaro@minsait.com::eb8d673b-84cc-4b06-b16a-a631b6e7e333" providerId="AD" clId="Web-{77DD86A6-2304-E7E0-EC68-A90832D5C402}" dt="2021-07-02T07:56:10.818" v="34"/>
        <pc:sldMkLst>
          <pc:docMk/>
          <pc:sldMk cId="257669842" sldId="579"/>
        </pc:sldMkLst>
      </pc:sldChg>
      <pc:sldChg chg="del">
        <pc:chgData name="Scopinaro, Nicola" userId="S::nscopinaro@minsait.com::eb8d673b-84cc-4b06-b16a-a631b6e7e333" providerId="AD" clId="Web-{77DD86A6-2304-E7E0-EC68-A90832D5C402}" dt="2021-07-02T07:56:10.880" v="36"/>
        <pc:sldMkLst>
          <pc:docMk/>
          <pc:sldMk cId="1830915940" sldId="582"/>
        </pc:sldMkLst>
      </pc:sldChg>
      <pc:sldChg chg="del">
        <pc:chgData name="Scopinaro, Nicola" userId="S::nscopinaro@minsait.com::eb8d673b-84cc-4b06-b16a-a631b6e7e333" providerId="AD" clId="Web-{77DD86A6-2304-E7E0-EC68-A90832D5C402}" dt="2021-07-02T07:56:10.849" v="35"/>
        <pc:sldMkLst>
          <pc:docMk/>
          <pc:sldMk cId="2353204195" sldId="583"/>
        </pc:sldMkLst>
      </pc:sldChg>
      <pc:sldChg chg="del">
        <pc:chgData name="Scopinaro, Nicola" userId="S::nscopinaro@minsait.com::eb8d673b-84cc-4b06-b16a-a631b6e7e333" providerId="AD" clId="Web-{77DD86A6-2304-E7E0-EC68-A90832D5C402}" dt="2021-07-02T07:56:10.771" v="32"/>
        <pc:sldMkLst>
          <pc:docMk/>
          <pc:sldMk cId="2961456859" sldId="587"/>
        </pc:sldMkLst>
      </pc:sldChg>
      <pc:sldChg chg="del">
        <pc:chgData name="Scopinaro, Nicola" userId="S::nscopinaro@minsait.com::eb8d673b-84cc-4b06-b16a-a631b6e7e333" providerId="AD" clId="Web-{77DD86A6-2304-E7E0-EC68-A90832D5C402}" dt="2021-07-02T07:56:10.693" v="29"/>
        <pc:sldMkLst>
          <pc:docMk/>
          <pc:sldMk cId="4141634967" sldId="588"/>
        </pc:sldMkLst>
      </pc:sldChg>
      <pc:sldChg chg="del">
        <pc:chgData name="Scopinaro, Nicola" userId="S::nscopinaro@minsait.com::eb8d673b-84cc-4b06-b16a-a631b6e7e333" providerId="AD" clId="Web-{77DD86A6-2304-E7E0-EC68-A90832D5C402}" dt="2021-07-02T07:56:10.708" v="30"/>
        <pc:sldMkLst>
          <pc:docMk/>
          <pc:sldMk cId="1553850916" sldId="589"/>
        </pc:sldMkLst>
      </pc:sldChg>
      <pc:sldChg chg="del">
        <pc:chgData name="Scopinaro, Nicola" userId="S::nscopinaro@minsait.com::eb8d673b-84cc-4b06-b16a-a631b6e7e333" providerId="AD" clId="Web-{77DD86A6-2304-E7E0-EC68-A90832D5C402}" dt="2021-07-02T07:56:10.661" v="28"/>
        <pc:sldMkLst>
          <pc:docMk/>
          <pc:sldMk cId="1747239548" sldId="590"/>
        </pc:sldMkLst>
      </pc:sldChg>
      <pc:sldChg chg="del">
        <pc:chgData name="Scopinaro, Nicola" userId="S::nscopinaro@minsait.com::eb8d673b-84cc-4b06-b16a-a631b6e7e333" providerId="AD" clId="Web-{77DD86A6-2304-E7E0-EC68-A90832D5C402}" dt="2021-07-02T07:56:10.630" v="27"/>
        <pc:sldMkLst>
          <pc:docMk/>
          <pc:sldMk cId="3327681085" sldId="591"/>
        </pc:sldMkLst>
      </pc:sldChg>
      <pc:sldChg chg="del">
        <pc:chgData name="Scopinaro, Nicola" userId="S::nscopinaro@minsait.com::eb8d673b-84cc-4b06-b16a-a631b6e7e333" providerId="AD" clId="Web-{77DD86A6-2304-E7E0-EC68-A90832D5C402}" dt="2021-07-02T07:56:10.599" v="26"/>
        <pc:sldMkLst>
          <pc:docMk/>
          <pc:sldMk cId="3973838248" sldId="592"/>
        </pc:sldMkLst>
      </pc:sldChg>
      <pc:sldChg chg="del">
        <pc:chgData name="Scopinaro, Nicola" userId="S::nscopinaro@minsait.com::eb8d673b-84cc-4b06-b16a-a631b6e7e333" providerId="AD" clId="Web-{77DD86A6-2304-E7E0-EC68-A90832D5C402}" dt="2021-07-02T07:56:10.583" v="25"/>
        <pc:sldMkLst>
          <pc:docMk/>
          <pc:sldMk cId="1513610426" sldId="593"/>
        </pc:sldMkLst>
      </pc:sldChg>
      <pc:sldChg chg="del">
        <pc:chgData name="Scopinaro, Nicola" userId="S::nscopinaro@minsait.com::eb8d673b-84cc-4b06-b16a-a631b6e7e333" providerId="AD" clId="Web-{77DD86A6-2304-E7E0-EC68-A90832D5C402}" dt="2021-07-02T07:56:10.521" v="23"/>
        <pc:sldMkLst>
          <pc:docMk/>
          <pc:sldMk cId="1245945607" sldId="594"/>
        </pc:sldMkLst>
      </pc:sldChg>
      <pc:sldChg chg="del">
        <pc:chgData name="Scopinaro, Nicola" userId="S::nscopinaro@minsait.com::eb8d673b-84cc-4b06-b16a-a631b6e7e333" providerId="AD" clId="Web-{77DD86A6-2304-E7E0-EC68-A90832D5C402}" dt="2021-07-02T07:56:10.458" v="21"/>
        <pc:sldMkLst>
          <pc:docMk/>
          <pc:sldMk cId="2363896498" sldId="595"/>
        </pc:sldMkLst>
      </pc:sldChg>
      <pc:sldChg chg="del">
        <pc:chgData name="Scopinaro, Nicola" userId="S::nscopinaro@minsait.com::eb8d673b-84cc-4b06-b16a-a631b6e7e333" providerId="AD" clId="Web-{77DD86A6-2304-E7E0-EC68-A90832D5C402}" dt="2021-07-02T07:56:10.427" v="20"/>
        <pc:sldMkLst>
          <pc:docMk/>
          <pc:sldMk cId="1741233139" sldId="596"/>
        </pc:sldMkLst>
      </pc:sldChg>
      <pc:sldChg chg="del">
        <pc:chgData name="Scopinaro, Nicola" userId="S::nscopinaro@minsait.com::eb8d673b-84cc-4b06-b16a-a631b6e7e333" providerId="AD" clId="Web-{77DD86A6-2304-E7E0-EC68-A90832D5C402}" dt="2021-07-02T07:56:10.380" v="19"/>
        <pc:sldMkLst>
          <pc:docMk/>
          <pc:sldMk cId="1094978825" sldId="597"/>
        </pc:sldMkLst>
      </pc:sldChg>
      <pc:sldChg chg="del">
        <pc:chgData name="Scopinaro, Nicola" userId="S::nscopinaro@minsait.com::eb8d673b-84cc-4b06-b16a-a631b6e7e333" providerId="AD" clId="Web-{77DD86A6-2304-E7E0-EC68-A90832D5C402}" dt="2021-07-02T07:56:10.349" v="18"/>
        <pc:sldMkLst>
          <pc:docMk/>
          <pc:sldMk cId="403538493" sldId="598"/>
        </pc:sldMkLst>
      </pc:sldChg>
      <pc:sldChg chg="del">
        <pc:chgData name="Scopinaro, Nicola" userId="S::nscopinaro@minsait.com::eb8d673b-84cc-4b06-b16a-a631b6e7e333" providerId="AD" clId="Web-{77DD86A6-2304-E7E0-EC68-A90832D5C402}" dt="2021-07-02T07:56:10.318" v="17"/>
        <pc:sldMkLst>
          <pc:docMk/>
          <pc:sldMk cId="1619962992" sldId="599"/>
        </pc:sldMkLst>
      </pc:sldChg>
      <pc:sldChg chg="del">
        <pc:chgData name="Scopinaro, Nicola" userId="S::nscopinaro@minsait.com::eb8d673b-84cc-4b06-b16a-a631b6e7e333" providerId="AD" clId="Web-{77DD86A6-2304-E7E0-EC68-A90832D5C402}" dt="2021-07-02T07:56:10.286" v="16"/>
        <pc:sldMkLst>
          <pc:docMk/>
          <pc:sldMk cId="3534365666" sldId="600"/>
        </pc:sldMkLst>
      </pc:sldChg>
      <pc:sldChg chg="del">
        <pc:chgData name="Scopinaro, Nicola" userId="S::nscopinaro@minsait.com::eb8d673b-84cc-4b06-b16a-a631b6e7e333" providerId="AD" clId="Web-{77DD86A6-2304-E7E0-EC68-A90832D5C402}" dt="2021-07-02T07:56:10.146" v="12"/>
        <pc:sldMkLst>
          <pc:docMk/>
          <pc:sldMk cId="1697594711" sldId="601"/>
        </pc:sldMkLst>
      </pc:sldChg>
      <pc:sldChg chg="del">
        <pc:chgData name="Scopinaro, Nicola" userId="S::nscopinaro@minsait.com::eb8d673b-84cc-4b06-b16a-a631b6e7e333" providerId="AD" clId="Web-{77DD86A6-2304-E7E0-EC68-A90832D5C402}" dt="2021-07-02T07:56:10.802" v="33"/>
        <pc:sldMkLst>
          <pc:docMk/>
          <pc:sldMk cId="2718117269" sldId="602"/>
        </pc:sldMkLst>
      </pc:sldChg>
      <pc:sldChg chg="del">
        <pc:chgData name="Scopinaro, Nicola" userId="S::nscopinaro@minsait.com::eb8d673b-84cc-4b06-b16a-a631b6e7e333" providerId="AD" clId="Web-{77DD86A6-2304-E7E0-EC68-A90832D5C402}" dt="2021-07-02T07:56:10.552" v="24"/>
        <pc:sldMkLst>
          <pc:docMk/>
          <pc:sldMk cId="4230758089" sldId="603"/>
        </pc:sldMkLst>
      </pc:sldChg>
      <pc:sldChg chg="del">
        <pc:chgData name="Scopinaro, Nicola" userId="S::nscopinaro@minsait.com::eb8d673b-84cc-4b06-b16a-a631b6e7e333" providerId="AD" clId="Web-{77DD86A6-2304-E7E0-EC68-A90832D5C402}" dt="2021-07-02T07:56:10.739" v="31"/>
        <pc:sldMkLst>
          <pc:docMk/>
          <pc:sldMk cId="1831081099" sldId="604"/>
        </pc:sldMkLst>
      </pc:sldChg>
      <pc:sldChg chg="del">
        <pc:chgData name="Scopinaro, Nicola" userId="S::nscopinaro@minsait.com::eb8d673b-84cc-4b06-b16a-a631b6e7e333" providerId="AD" clId="Web-{77DD86A6-2304-E7E0-EC68-A90832D5C402}" dt="2021-07-02T07:56:10.489" v="22"/>
        <pc:sldMkLst>
          <pc:docMk/>
          <pc:sldMk cId="313998149" sldId="605"/>
        </pc:sldMkLst>
      </pc:sldChg>
      <pc:sldChg chg="del">
        <pc:chgData name="Scopinaro, Nicola" userId="S::nscopinaro@minsait.com::eb8d673b-84cc-4b06-b16a-a631b6e7e333" providerId="AD" clId="Web-{77DD86A6-2304-E7E0-EC68-A90832D5C402}" dt="2021-07-02T07:56:10.239" v="15"/>
        <pc:sldMkLst>
          <pc:docMk/>
          <pc:sldMk cId="2651766550" sldId="606"/>
        </pc:sldMkLst>
      </pc:sldChg>
      <pc:sldChg chg="del">
        <pc:chgData name="Scopinaro, Nicola" userId="S::nscopinaro@minsait.com::eb8d673b-84cc-4b06-b16a-a631b6e7e333" providerId="AD" clId="Web-{77DD86A6-2304-E7E0-EC68-A90832D5C402}" dt="2021-07-02T07:56:10.208" v="14"/>
        <pc:sldMkLst>
          <pc:docMk/>
          <pc:sldMk cId="1745711042" sldId="607"/>
        </pc:sldMkLst>
      </pc:sldChg>
      <pc:sldChg chg="del">
        <pc:chgData name="Scopinaro, Nicola" userId="S::nscopinaro@minsait.com::eb8d673b-84cc-4b06-b16a-a631b6e7e333" providerId="AD" clId="Web-{77DD86A6-2304-E7E0-EC68-A90832D5C402}" dt="2021-07-02T07:56:10.177" v="13"/>
        <pc:sldMkLst>
          <pc:docMk/>
          <pc:sldMk cId="1891778694" sldId="608"/>
        </pc:sldMkLst>
      </pc:sldChg>
      <pc:sldChg chg="del">
        <pc:chgData name="Scopinaro, Nicola" userId="S::nscopinaro@minsait.com::eb8d673b-84cc-4b06-b16a-a631b6e7e333" providerId="AD" clId="Web-{77DD86A6-2304-E7E0-EC68-A90832D5C402}" dt="2021-07-02T07:56:10.114" v="11"/>
        <pc:sldMkLst>
          <pc:docMk/>
          <pc:sldMk cId="4098976531" sldId="609"/>
        </pc:sldMkLst>
      </pc:sldChg>
      <pc:sldChg chg="del">
        <pc:chgData name="Scopinaro, Nicola" userId="S::nscopinaro@minsait.com::eb8d673b-84cc-4b06-b16a-a631b6e7e333" providerId="AD" clId="Web-{77DD86A6-2304-E7E0-EC68-A90832D5C402}" dt="2021-07-02T07:56:10.052" v="8"/>
        <pc:sldMkLst>
          <pc:docMk/>
          <pc:sldMk cId="2435882164" sldId="611"/>
        </pc:sldMkLst>
      </pc:sldChg>
      <pc:sldChg chg="del">
        <pc:chgData name="Scopinaro, Nicola" userId="S::nscopinaro@minsait.com::eb8d673b-84cc-4b06-b16a-a631b6e7e333" providerId="AD" clId="Web-{77DD86A6-2304-E7E0-EC68-A90832D5C402}" dt="2021-07-02T07:56:10.068" v="9"/>
        <pc:sldMkLst>
          <pc:docMk/>
          <pc:sldMk cId="3714426333" sldId="612"/>
        </pc:sldMkLst>
      </pc:sldChg>
      <pc:sldChg chg="del">
        <pc:chgData name="Scopinaro, Nicola" userId="S::nscopinaro@minsait.com::eb8d673b-84cc-4b06-b16a-a631b6e7e333" providerId="AD" clId="Web-{77DD86A6-2304-E7E0-EC68-A90832D5C402}" dt="2021-07-02T07:56:10.021" v="7"/>
        <pc:sldMkLst>
          <pc:docMk/>
          <pc:sldMk cId="2090939267" sldId="616"/>
        </pc:sldMkLst>
      </pc:sldChg>
      <pc:sldChg chg="del">
        <pc:chgData name="Scopinaro, Nicola" userId="S::nscopinaro@minsait.com::eb8d673b-84cc-4b06-b16a-a631b6e7e333" providerId="AD" clId="Web-{77DD86A6-2304-E7E0-EC68-A90832D5C402}" dt="2021-07-02T07:56:10.005" v="6"/>
        <pc:sldMkLst>
          <pc:docMk/>
          <pc:sldMk cId="1897668903" sldId="617"/>
        </pc:sldMkLst>
      </pc:sldChg>
      <pc:sldChg chg="del">
        <pc:chgData name="Scopinaro, Nicola" userId="S::nscopinaro@minsait.com::eb8d673b-84cc-4b06-b16a-a631b6e7e333" providerId="AD" clId="Web-{77DD86A6-2304-E7E0-EC68-A90832D5C402}" dt="2021-07-02T07:56:09.974" v="5"/>
        <pc:sldMkLst>
          <pc:docMk/>
          <pc:sldMk cId="2859097251" sldId="618"/>
        </pc:sldMkLst>
      </pc:sldChg>
      <pc:sldChg chg="del">
        <pc:chgData name="Scopinaro, Nicola" userId="S::nscopinaro@minsait.com::eb8d673b-84cc-4b06-b16a-a631b6e7e333" providerId="AD" clId="Web-{77DD86A6-2304-E7E0-EC68-A90832D5C402}" dt="2021-07-02T07:56:09.958" v="4"/>
        <pc:sldMkLst>
          <pc:docMk/>
          <pc:sldMk cId="2618846373" sldId="619"/>
        </pc:sldMkLst>
      </pc:sldChg>
      <pc:sldChg chg="del">
        <pc:chgData name="Scopinaro, Nicola" userId="S::nscopinaro@minsait.com::eb8d673b-84cc-4b06-b16a-a631b6e7e333" providerId="AD" clId="Web-{77DD86A6-2304-E7E0-EC68-A90832D5C402}" dt="2021-07-02T07:56:09.943" v="3"/>
        <pc:sldMkLst>
          <pc:docMk/>
          <pc:sldMk cId="402441371" sldId="620"/>
        </pc:sldMkLst>
      </pc:sldChg>
      <pc:sldChg chg="del">
        <pc:chgData name="Scopinaro, Nicola" userId="S::nscopinaro@minsait.com::eb8d673b-84cc-4b06-b16a-a631b6e7e333" providerId="AD" clId="Web-{77DD86A6-2304-E7E0-EC68-A90832D5C402}" dt="2021-07-02T07:56:09.880" v="1"/>
        <pc:sldMkLst>
          <pc:docMk/>
          <pc:sldMk cId="4202405635" sldId="621"/>
        </pc:sldMkLst>
      </pc:sldChg>
      <pc:sldChg chg="del">
        <pc:chgData name="Scopinaro, Nicola" userId="S::nscopinaro@minsait.com::eb8d673b-84cc-4b06-b16a-a631b6e7e333" providerId="AD" clId="Web-{77DD86A6-2304-E7E0-EC68-A90832D5C402}" dt="2021-07-02T07:56:09.864" v="0"/>
        <pc:sldMkLst>
          <pc:docMk/>
          <pc:sldMk cId="463088015" sldId="622"/>
        </pc:sldMkLst>
      </pc:sldChg>
      <pc:sldChg chg="del">
        <pc:chgData name="Scopinaro, Nicola" userId="S::nscopinaro@minsait.com::eb8d673b-84cc-4b06-b16a-a631b6e7e333" providerId="AD" clId="Web-{77DD86A6-2304-E7E0-EC68-A90832D5C402}" dt="2021-07-02T07:56:09.911" v="2"/>
        <pc:sldMkLst>
          <pc:docMk/>
          <pc:sldMk cId="2394393290" sldId="623"/>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D5B29DC9-D08B-4949-81E2-39C6CEC68F6F}"/>
              </a:ext>
            </a:extLst>
          </p:cNvPr>
          <p:cNvSpPr>
            <a:spLocks noGrp="1"/>
          </p:cNvSpPr>
          <p:nvPr>
            <p:ph type="hdr" sz="quarter"/>
          </p:nvPr>
        </p:nvSpPr>
        <p:spPr>
          <a:xfrm>
            <a:off x="1" y="0"/>
            <a:ext cx="2945659" cy="498056"/>
          </a:xfrm>
          <a:prstGeom prst="rect">
            <a:avLst/>
          </a:prstGeom>
        </p:spPr>
        <p:txBody>
          <a:bodyPr vert="horz" lIns="92345" tIns="46173" rIns="92345" bIns="46173" rtlCol="0"/>
          <a:lstStyle>
            <a:lvl1pPr algn="l">
              <a:defRPr sz="1200"/>
            </a:lvl1pPr>
          </a:lstStyle>
          <a:p>
            <a:endParaRPr lang="es-ES">
              <a:latin typeface="Soho Gothic Pro Light" panose="020B0303030504020204" pitchFamily="34" charset="0"/>
            </a:endParaRPr>
          </a:p>
        </p:txBody>
      </p:sp>
      <p:sp>
        <p:nvSpPr>
          <p:cNvPr id="3" name="Marcador de fecha 2">
            <a:extLst>
              <a:ext uri="{FF2B5EF4-FFF2-40B4-BE49-F238E27FC236}">
                <a16:creationId xmlns:a16="http://schemas.microsoft.com/office/drawing/2014/main" id="{C99F9DC3-28BB-D94C-85E9-90396F03A580}"/>
              </a:ext>
            </a:extLst>
          </p:cNvPr>
          <p:cNvSpPr>
            <a:spLocks noGrp="1"/>
          </p:cNvSpPr>
          <p:nvPr>
            <p:ph type="dt" sz="quarter" idx="1"/>
          </p:nvPr>
        </p:nvSpPr>
        <p:spPr>
          <a:xfrm>
            <a:off x="3850444" y="0"/>
            <a:ext cx="2945659" cy="498056"/>
          </a:xfrm>
          <a:prstGeom prst="rect">
            <a:avLst/>
          </a:prstGeom>
        </p:spPr>
        <p:txBody>
          <a:bodyPr vert="horz" lIns="92345" tIns="46173" rIns="92345" bIns="46173" rtlCol="0"/>
          <a:lstStyle>
            <a:lvl1pPr algn="r">
              <a:defRPr sz="1200"/>
            </a:lvl1pPr>
          </a:lstStyle>
          <a:p>
            <a:fld id="{44FE4C93-B9AD-774B-B059-E1A53E3045D5}" type="datetimeFigureOut">
              <a:rPr lang="es-ES" smtClean="0">
                <a:latin typeface="Soho Gothic Pro Light" panose="020B0303030504020204" pitchFamily="34" charset="0"/>
              </a:rPr>
              <a:t>06/12/2022</a:t>
            </a:fld>
            <a:endParaRPr lang="es-ES">
              <a:latin typeface="Soho Gothic Pro Light" panose="020B0303030504020204" pitchFamily="34" charset="0"/>
            </a:endParaRPr>
          </a:p>
        </p:txBody>
      </p:sp>
      <p:sp>
        <p:nvSpPr>
          <p:cNvPr id="4" name="Marcador de pie de página 3">
            <a:extLst>
              <a:ext uri="{FF2B5EF4-FFF2-40B4-BE49-F238E27FC236}">
                <a16:creationId xmlns:a16="http://schemas.microsoft.com/office/drawing/2014/main" id="{FE33F6B1-C943-874F-81C8-5CB8F4F2E288}"/>
              </a:ext>
            </a:extLst>
          </p:cNvPr>
          <p:cNvSpPr>
            <a:spLocks noGrp="1"/>
          </p:cNvSpPr>
          <p:nvPr>
            <p:ph type="ftr" sz="quarter" idx="2"/>
          </p:nvPr>
        </p:nvSpPr>
        <p:spPr>
          <a:xfrm>
            <a:off x="1" y="9428585"/>
            <a:ext cx="2945659" cy="498055"/>
          </a:xfrm>
          <a:prstGeom prst="rect">
            <a:avLst/>
          </a:prstGeom>
        </p:spPr>
        <p:txBody>
          <a:bodyPr vert="horz" lIns="92345" tIns="46173" rIns="92345" bIns="46173" rtlCol="0" anchor="b"/>
          <a:lstStyle>
            <a:lvl1pPr algn="l">
              <a:defRPr sz="1200"/>
            </a:lvl1pPr>
          </a:lstStyle>
          <a:p>
            <a:endParaRPr lang="es-ES">
              <a:latin typeface="Soho Gothic Pro Light" panose="020B0303030504020204" pitchFamily="34" charset="0"/>
            </a:endParaRPr>
          </a:p>
        </p:txBody>
      </p:sp>
      <p:sp>
        <p:nvSpPr>
          <p:cNvPr id="5" name="Marcador de número de diapositiva 4">
            <a:extLst>
              <a:ext uri="{FF2B5EF4-FFF2-40B4-BE49-F238E27FC236}">
                <a16:creationId xmlns:a16="http://schemas.microsoft.com/office/drawing/2014/main" id="{CEB7C242-1592-974F-B931-024110D2C693}"/>
              </a:ext>
            </a:extLst>
          </p:cNvPr>
          <p:cNvSpPr>
            <a:spLocks noGrp="1"/>
          </p:cNvSpPr>
          <p:nvPr>
            <p:ph type="sldNum" sz="quarter" idx="3"/>
          </p:nvPr>
        </p:nvSpPr>
        <p:spPr>
          <a:xfrm>
            <a:off x="3850444" y="9428585"/>
            <a:ext cx="2945659" cy="498055"/>
          </a:xfrm>
          <a:prstGeom prst="rect">
            <a:avLst/>
          </a:prstGeom>
        </p:spPr>
        <p:txBody>
          <a:bodyPr vert="horz" lIns="92345" tIns="46173" rIns="92345" bIns="46173" rtlCol="0" anchor="b"/>
          <a:lstStyle>
            <a:lvl1pPr algn="r">
              <a:defRPr sz="1200"/>
            </a:lvl1pPr>
          </a:lstStyle>
          <a:p>
            <a:fld id="{13E42EBE-F2C8-DB4B-9CF8-781446FF5229}" type="slidenum">
              <a:rPr lang="es-ES" smtClean="0">
                <a:latin typeface="Soho Gothic Pro Light" panose="020B0303030504020204" pitchFamily="34" charset="0"/>
              </a:rPr>
              <a:t>‹N›</a:t>
            </a:fld>
            <a:endParaRPr lang="es-ES">
              <a:latin typeface="Soho Gothic Pro Light" panose="020B0303030504020204" pitchFamily="34" charset="0"/>
            </a:endParaRPr>
          </a:p>
        </p:txBody>
      </p:sp>
    </p:spTree>
    <p:extLst>
      <p:ext uri="{BB962C8B-B14F-4D97-AF65-F5344CB8AC3E}">
        <p14:creationId xmlns:p14="http://schemas.microsoft.com/office/powerpoint/2010/main" val="25085962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1" y="0"/>
            <a:ext cx="2945659" cy="498056"/>
          </a:xfrm>
          <a:prstGeom prst="rect">
            <a:avLst/>
          </a:prstGeom>
        </p:spPr>
        <p:txBody>
          <a:bodyPr vert="horz" lIns="92345" tIns="46173" rIns="92345" bIns="46173" rtlCol="0"/>
          <a:lstStyle>
            <a:lvl1pPr algn="l">
              <a:defRPr sz="1200">
                <a:latin typeface="Soho Gothic Pro Light" panose="020B0303030504020204" pitchFamily="34" charset="0"/>
              </a:defRPr>
            </a:lvl1pPr>
          </a:lstStyle>
          <a:p>
            <a:endParaRPr lang="es-ES"/>
          </a:p>
        </p:txBody>
      </p:sp>
      <p:sp>
        <p:nvSpPr>
          <p:cNvPr id="3" name="Marcador de fecha 2"/>
          <p:cNvSpPr>
            <a:spLocks noGrp="1"/>
          </p:cNvSpPr>
          <p:nvPr>
            <p:ph type="dt" idx="1"/>
          </p:nvPr>
        </p:nvSpPr>
        <p:spPr>
          <a:xfrm>
            <a:off x="3850444" y="0"/>
            <a:ext cx="2945659" cy="498056"/>
          </a:xfrm>
          <a:prstGeom prst="rect">
            <a:avLst/>
          </a:prstGeom>
        </p:spPr>
        <p:txBody>
          <a:bodyPr vert="horz" lIns="92345" tIns="46173" rIns="92345" bIns="46173" rtlCol="0"/>
          <a:lstStyle>
            <a:lvl1pPr algn="r">
              <a:defRPr sz="1200">
                <a:latin typeface="Soho Gothic Pro Light" panose="020B0303030504020204" pitchFamily="34" charset="0"/>
              </a:defRPr>
            </a:lvl1pPr>
          </a:lstStyle>
          <a:p>
            <a:fld id="{C82A976D-0EBD-E345-809C-21C952C27942}" type="datetimeFigureOut">
              <a:rPr lang="es-ES" smtClean="0"/>
              <a:pPr/>
              <a:t>06/12/2022</a:t>
            </a:fld>
            <a:endParaRPr lang="es-ES"/>
          </a:p>
        </p:txBody>
      </p:sp>
      <p:sp>
        <p:nvSpPr>
          <p:cNvPr id="4" name="Marcador de imagen de diapositiva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2345" tIns="46173" rIns="92345" bIns="46173" rtlCol="0" anchor="ctr"/>
          <a:lstStyle/>
          <a:p>
            <a:endParaRPr lang="es-ES"/>
          </a:p>
        </p:txBody>
      </p:sp>
      <p:sp>
        <p:nvSpPr>
          <p:cNvPr id="5" name="Marcador de notas 4"/>
          <p:cNvSpPr>
            <a:spLocks noGrp="1"/>
          </p:cNvSpPr>
          <p:nvPr>
            <p:ph type="body" sz="quarter" idx="3"/>
          </p:nvPr>
        </p:nvSpPr>
        <p:spPr>
          <a:xfrm>
            <a:off x="679768" y="4777196"/>
            <a:ext cx="5438140" cy="3908613"/>
          </a:xfrm>
          <a:prstGeom prst="rect">
            <a:avLst/>
          </a:prstGeom>
        </p:spPr>
        <p:txBody>
          <a:bodyPr vert="horz" lIns="92345" tIns="46173" rIns="92345" bIns="46173" rtlCol="0"/>
          <a:lstStyle/>
          <a:p>
            <a:r>
              <a:rPr lang="es-ES"/>
              <a:t>Editar los estilos de texto del patrón
Segundo nivel
Tercer nivel
Cuarto nivel
Quinto nivel</a:t>
            </a:r>
          </a:p>
        </p:txBody>
      </p:sp>
      <p:sp>
        <p:nvSpPr>
          <p:cNvPr id="6" name="Marcador de pie de página 5"/>
          <p:cNvSpPr>
            <a:spLocks noGrp="1"/>
          </p:cNvSpPr>
          <p:nvPr>
            <p:ph type="ftr" sz="quarter" idx="4"/>
          </p:nvPr>
        </p:nvSpPr>
        <p:spPr>
          <a:xfrm>
            <a:off x="1" y="9428585"/>
            <a:ext cx="2945659" cy="498055"/>
          </a:xfrm>
          <a:prstGeom prst="rect">
            <a:avLst/>
          </a:prstGeom>
        </p:spPr>
        <p:txBody>
          <a:bodyPr vert="horz" lIns="92345" tIns="46173" rIns="92345" bIns="46173" rtlCol="0" anchor="b"/>
          <a:lstStyle>
            <a:lvl1pPr algn="l">
              <a:defRPr sz="1200">
                <a:latin typeface="Soho Gothic Pro Light" panose="020B0303030504020204" pitchFamily="34" charset="0"/>
              </a:defRPr>
            </a:lvl1pPr>
          </a:lstStyle>
          <a:p>
            <a:endParaRPr lang="es-ES"/>
          </a:p>
        </p:txBody>
      </p:sp>
      <p:sp>
        <p:nvSpPr>
          <p:cNvPr id="7" name="Marcador de número de diapositiva 6"/>
          <p:cNvSpPr>
            <a:spLocks noGrp="1"/>
          </p:cNvSpPr>
          <p:nvPr>
            <p:ph type="sldNum" sz="quarter" idx="5"/>
          </p:nvPr>
        </p:nvSpPr>
        <p:spPr>
          <a:xfrm>
            <a:off x="3850444" y="9428585"/>
            <a:ext cx="2945659" cy="498055"/>
          </a:xfrm>
          <a:prstGeom prst="rect">
            <a:avLst/>
          </a:prstGeom>
        </p:spPr>
        <p:txBody>
          <a:bodyPr vert="horz" lIns="92345" tIns="46173" rIns="92345" bIns="46173" rtlCol="0" anchor="b"/>
          <a:lstStyle>
            <a:lvl1pPr algn="r">
              <a:defRPr sz="1200">
                <a:latin typeface="Soho Gothic Pro Light" panose="020B0303030504020204" pitchFamily="34" charset="0"/>
              </a:defRPr>
            </a:lvl1pPr>
          </a:lstStyle>
          <a:p>
            <a:fld id="{7001BFE9-5FDD-E045-9186-025D41341214}" type="slidenum">
              <a:rPr lang="es-ES" smtClean="0"/>
              <a:pPr/>
              <a:t>‹N›</a:t>
            </a:fld>
            <a:endParaRPr lang="es-ES"/>
          </a:p>
        </p:txBody>
      </p:sp>
    </p:spTree>
    <p:extLst>
      <p:ext uri="{BB962C8B-B14F-4D97-AF65-F5344CB8AC3E}">
        <p14:creationId xmlns:p14="http://schemas.microsoft.com/office/powerpoint/2010/main" val="764232372"/>
      </p:ext>
    </p:extLst>
  </p:cSld>
  <p:clrMap bg1="lt1" tx1="dk1" bg2="lt2" tx2="dk2" accent1="accent1" accent2="accent2" accent3="accent3" accent4="accent4" accent5="accent5" accent6="accent6" hlink="hlink" folHlink="folHlink"/>
  <p:notesStyle>
    <a:lvl1pPr marL="0" algn="l" defTabSz="1218387" rtl="0" eaLnBrk="1" latinLnBrk="0" hangingPunct="1">
      <a:defRPr sz="1599" kern="1200">
        <a:solidFill>
          <a:schemeClr val="tx1"/>
        </a:solidFill>
        <a:latin typeface="Soho Gothic Pro Light" panose="020B0303030504020204" pitchFamily="34" charset="0"/>
        <a:ea typeface="+mn-ea"/>
        <a:cs typeface="+mn-cs"/>
      </a:defRPr>
    </a:lvl1pPr>
    <a:lvl2pPr marL="609194" algn="l" defTabSz="1218387" rtl="0" eaLnBrk="1" latinLnBrk="0" hangingPunct="1">
      <a:defRPr sz="1599" kern="1200">
        <a:solidFill>
          <a:schemeClr val="tx1"/>
        </a:solidFill>
        <a:latin typeface="+mn-lt"/>
        <a:ea typeface="+mn-ea"/>
        <a:cs typeface="+mn-cs"/>
      </a:defRPr>
    </a:lvl2pPr>
    <a:lvl3pPr marL="1218387" algn="l" defTabSz="1218387" rtl="0" eaLnBrk="1" latinLnBrk="0" hangingPunct="1">
      <a:defRPr sz="1599" kern="1200">
        <a:solidFill>
          <a:schemeClr val="tx1"/>
        </a:solidFill>
        <a:latin typeface="+mn-lt"/>
        <a:ea typeface="+mn-ea"/>
        <a:cs typeface="+mn-cs"/>
      </a:defRPr>
    </a:lvl3pPr>
    <a:lvl4pPr marL="1827581" algn="l" defTabSz="1218387" rtl="0" eaLnBrk="1" latinLnBrk="0" hangingPunct="1">
      <a:defRPr sz="1599" kern="1200">
        <a:solidFill>
          <a:schemeClr val="tx1"/>
        </a:solidFill>
        <a:latin typeface="+mn-lt"/>
        <a:ea typeface="+mn-ea"/>
        <a:cs typeface="+mn-cs"/>
      </a:defRPr>
    </a:lvl4pPr>
    <a:lvl5pPr marL="2436774" algn="l" defTabSz="1218387" rtl="0" eaLnBrk="1" latinLnBrk="0" hangingPunct="1">
      <a:defRPr sz="1599" kern="1200">
        <a:solidFill>
          <a:schemeClr val="tx1"/>
        </a:solidFill>
        <a:latin typeface="+mn-lt"/>
        <a:ea typeface="+mn-ea"/>
        <a:cs typeface="+mn-cs"/>
      </a:defRPr>
    </a:lvl5pPr>
    <a:lvl6pPr marL="3045968" algn="l" defTabSz="1218387" rtl="0" eaLnBrk="1" latinLnBrk="0" hangingPunct="1">
      <a:defRPr sz="1599" kern="1200">
        <a:solidFill>
          <a:schemeClr val="tx1"/>
        </a:solidFill>
        <a:latin typeface="+mn-lt"/>
        <a:ea typeface="+mn-ea"/>
        <a:cs typeface="+mn-cs"/>
      </a:defRPr>
    </a:lvl6pPr>
    <a:lvl7pPr marL="3655161" algn="l" defTabSz="1218387" rtl="0" eaLnBrk="1" latinLnBrk="0" hangingPunct="1">
      <a:defRPr sz="1599" kern="1200">
        <a:solidFill>
          <a:schemeClr val="tx1"/>
        </a:solidFill>
        <a:latin typeface="+mn-lt"/>
        <a:ea typeface="+mn-ea"/>
        <a:cs typeface="+mn-cs"/>
      </a:defRPr>
    </a:lvl7pPr>
    <a:lvl8pPr marL="4264355" algn="l" defTabSz="1218387" rtl="0" eaLnBrk="1" latinLnBrk="0" hangingPunct="1">
      <a:defRPr sz="1599" kern="1200">
        <a:solidFill>
          <a:schemeClr val="tx1"/>
        </a:solidFill>
        <a:latin typeface="+mn-lt"/>
        <a:ea typeface="+mn-ea"/>
        <a:cs typeface="+mn-cs"/>
      </a:defRPr>
    </a:lvl8pPr>
    <a:lvl9pPr marL="4873548" algn="l" defTabSz="1218387" rtl="0" eaLnBrk="1" latinLnBrk="0" hangingPunct="1">
      <a:defRPr sz="1599"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7001BFE9-5FDD-E045-9186-025D41341214}" type="slidenum">
              <a:rPr lang="es-ES" smtClean="0"/>
              <a:pPr/>
              <a:t>2</a:t>
            </a:fld>
            <a:endParaRPr lang="es-ES"/>
          </a:p>
        </p:txBody>
      </p:sp>
    </p:spTree>
    <p:extLst>
      <p:ext uri="{BB962C8B-B14F-4D97-AF65-F5344CB8AC3E}">
        <p14:creationId xmlns:p14="http://schemas.microsoft.com/office/powerpoint/2010/main" val="23796225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57.xml"/><Relationship Id="rId7" Type="http://schemas.openxmlformats.org/officeDocument/2006/relationships/image" Target="../media/image4.png"/><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image" Target="../media/image5.emf"/><Relationship Id="rId5" Type="http://schemas.openxmlformats.org/officeDocument/2006/relationships/oleObject" Target="../embeddings/oleObject28.bin"/><Relationship Id="rId4"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image" Target="../media/image5.emf"/><Relationship Id="rId5" Type="http://schemas.openxmlformats.org/officeDocument/2006/relationships/oleObject" Target="../embeddings/oleObject29.bin"/><Relationship Id="rId4"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image" Target="../media/image5.emf"/><Relationship Id="rId5" Type="http://schemas.openxmlformats.org/officeDocument/2006/relationships/oleObject" Target="../embeddings/oleObject30.bin"/><Relationship Id="rId4"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3.emf"/><Relationship Id="rId2" Type="http://schemas.openxmlformats.org/officeDocument/2006/relationships/tags" Target="../tags/tag62.xml"/><Relationship Id="rId1" Type="http://schemas.openxmlformats.org/officeDocument/2006/relationships/vmlDrawing" Target="../drawings/vmlDrawing31.vml"/><Relationship Id="rId6" Type="http://schemas.openxmlformats.org/officeDocument/2006/relationships/image" Target="../media/image5.emf"/><Relationship Id="rId5" Type="http://schemas.openxmlformats.org/officeDocument/2006/relationships/oleObject" Target="../embeddings/oleObject31.bin"/><Relationship Id="rId4"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32.vml"/><Relationship Id="rId6" Type="http://schemas.openxmlformats.org/officeDocument/2006/relationships/image" Target="../media/image5.emf"/><Relationship Id="rId5" Type="http://schemas.openxmlformats.org/officeDocument/2006/relationships/oleObject" Target="../embeddings/oleObject32.bin"/><Relationship Id="rId4"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33.vml"/><Relationship Id="rId6" Type="http://schemas.openxmlformats.org/officeDocument/2006/relationships/image" Target="../media/image5.emf"/><Relationship Id="rId5" Type="http://schemas.openxmlformats.org/officeDocument/2006/relationships/oleObject" Target="../embeddings/oleObject33.bin"/><Relationship Id="rId4"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4.vml"/><Relationship Id="rId6" Type="http://schemas.openxmlformats.org/officeDocument/2006/relationships/image" Target="../media/image5.emf"/><Relationship Id="rId5" Type="http://schemas.openxmlformats.org/officeDocument/2006/relationships/oleObject" Target="../embeddings/oleObject34.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3.emf"/><Relationship Id="rId2" Type="http://schemas.openxmlformats.org/officeDocument/2006/relationships/tags" Target="../tags/tag70.xml"/><Relationship Id="rId1" Type="http://schemas.openxmlformats.org/officeDocument/2006/relationships/vmlDrawing" Target="../drawings/vmlDrawing35.vml"/><Relationship Id="rId6" Type="http://schemas.openxmlformats.org/officeDocument/2006/relationships/image" Target="../media/image5.emf"/><Relationship Id="rId5" Type="http://schemas.openxmlformats.org/officeDocument/2006/relationships/oleObject" Target="../embeddings/oleObject35.bin"/><Relationship Id="rId4"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36.vml"/><Relationship Id="rId6" Type="http://schemas.openxmlformats.org/officeDocument/2006/relationships/image" Target="../media/image5.emf"/><Relationship Id="rId5" Type="http://schemas.openxmlformats.org/officeDocument/2006/relationships/oleObject" Target="../embeddings/oleObject36.bin"/><Relationship Id="rId4"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37.vml"/><Relationship Id="rId6" Type="http://schemas.openxmlformats.org/officeDocument/2006/relationships/image" Target="../media/image5.emf"/><Relationship Id="rId5" Type="http://schemas.openxmlformats.org/officeDocument/2006/relationships/oleObject" Target="../embeddings/oleObject37.bin"/><Relationship Id="rId4"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38.vml"/><Relationship Id="rId6" Type="http://schemas.openxmlformats.org/officeDocument/2006/relationships/image" Target="../media/image5.emf"/><Relationship Id="rId5" Type="http://schemas.openxmlformats.org/officeDocument/2006/relationships/oleObject" Target="../embeddings/oleObject38.bin"/><Relationship Id="rId4"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3.emf"/><Relationship Id="rId2" Type="http://schemas.openxmlformats.org/officeDocument/2006/relationships/tags" Target="../tags/tag78.xml"/><Relationship Id="rId1" Type="http://schemas.openxmlformats.org/officeDocument/2006/relationships/vmlDrawing" Target="../drawings/vmlDrawing39.vml"/><Relationship Id="rId6" Type="http://schemas.openxmlformats.org/officeDocument/2006/relationships/image" Target="../media/image5.emf"/><Relationship Id="rId5" Type="http://schemas.openxmlformats.org/officeDocument/2006/relationships/oleObject" Target="../embeddings/oleObject39.bin"/><Relationship Id="rId4"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vmlDrawing" Target="../drawings/vmlDrawing40.vml"/><Relationship Id="rId6" Type="http://schemas.openxmlformats.org/officeDocument/2006/relationships/image" Target="../media/image5.emf"/><Relationship Id="rId5" Type="http://schemas.openxmlformats.org/officeDocument/2006/relationships/oleObject" Target="../embeddings/oleObject40.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3.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3.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3.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3.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3.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9.xml"/><Relationship Id="rId7" Type="http://schemas.openxmlformats.org/officeDocument/2006/relationships/image" Target="../media/image4.png"/><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3.emf"/><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3.emf"/><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5.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3.emf"/><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5.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3.emf"/><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5.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3.emf"/><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5.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3.emf"/><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5.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5.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image" Target="../media/image6.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Portada Foto">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B687104C-16D4-5049-93EC-3E0017E53BB5}"/>
              </a:ext>
            </a:extLst>
          </p:cNvPr>
          <p:cNvSpPr>
            <a:spLocks noGrp="1"/>
          </p:cNvSpPr>
          <p:nvPr>
            <p:ph type="pic" sz="quarter" idx="14"/>
          </p:nvPr>
        </p:nvSpPr>
        <p:spPr>
          <a:xfrm>
            <a:off x="0" y="4"/>
            <a:ext cx="12192000" cy="6877415"/>
          </a:xfrm>
          <a:prstGeom prst="rect">
            <a:avLst/>
          </a:prstGeom>
        </p:spPr>
        <p:txBody>
          <a:bodyPr anchor="t"/>
          <a:lstStyle>
            <a:lvl1pPr marL="0" indent="0" algn="ctr">
              <a:buNone/>
              <a:defRPr/>
            </a:lvl1pPr>
          </a:lstStyle>
          <a:p>
            <a:r>
              <a:rPr lang="es-ES"/>
              <a:t>Haga clic en el icono para agregar una imagen</a:t>
            </a:r>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2" y="383588"/>
            <a:ext cx="3725333" cy="214776"/>
          </a:xfrm>
          <a:prstGeom prst="rect">
            <a:avLst/>
          </a:prstGeom>
        </p:spPr>
        <p:txBody>
          <a:bodyPr lIns="0" tIns="0" rIns="0" bIns="0"/>
          <a:lstStyle>
            <a:lvl1pPr marL="0" indent="0">
              <a:buNone/>
              <a:defRPr sz="1866"/>
            </a:lvl1pPr>
          </a:lstStyle>
          <a:p>
            <a:r>
              <a:rPr lang="es-ES"/>
              <a:t>Editar el subtitulo de presentación 
</a:t>
            </a:r>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336002" y="689241"/>
            <a:ext cx="3725333" cy="159485"/>
          </a:xfrm>
          <a:prstGeom prst="rect">
            <a:avLst/>
          </a:prstGeom>
        </p:spPr>
        <p:txBody>
          <a:bodyPr lIns="0" tIns="0" rIns="0" bIns="0"/>
          <a:lstStyle>
            <a:lvl1pPr marL="0" indent="0">
              <a:buNone/>
              <a:defRPr sz="1333"/>
            </a:lvl1pPr>
          </a:lstStyle>
          <a:p>
            <a:r>
              <a:rPr lang="es-ES"/>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336000" y="986371"/>
            <a:ext cx="1799167" cy="639233"/>
          </a:xfrm>
          <a:prstGeom prst="rect">
            <a:avLst/>
          </a:prstGeom>
        </p:spPr>
        <p:txBody>
          <a:bodyPr anchor="ctr"/>
          <a:lstStyle>
            <a:lvl1pPr marL="0" indent="0" algn="ctr">
              <a:buNone/>
              <a:defRPr sz="1333"/>
            </a:lvl1pPr>
          </a:lstStyle>
          <a:p>
            <a:r>
              <a:rPr lang="es-ES"/>
              <a:t>Logo cliente</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4539954" y="2873081"/>
            <a:ext cx="6626810" cy="1648341"/>
          </a:xfrm>
          <a:prstGeom prst="rect">
            <a:avLst/>
          </a:prstGeom>
        </p:spPr>
        <p:txBody>
          <a:bodyPr vert="horz" lIns="0" tIns="0" rIns="0" bIns="0" rtlCol="0" anchor="t">
            <a:noAutofit/>
          </a:bodyPr>
          <a:lstStyle>
            <a:lvl1pPr>
              <a:defRPr sz="5997"/>
            </a:lvl1pPr>
          </a:lstStyle>
          <a:p>
            <a:r>
              <a:rPr lang="es-ES"/>
              <a:t>Haga clic para el título principal</a:t>
            </a:r>
            <a:endParaRPr lang="en-US"/>
          </a:p>
        </p:txBody>
      </p:sp>
    </p:spTree>
    <p:extLst>
      <p:ext uri="{BB962C8B-B14F-4D97-AF65-F5344CB8AC3E}">
        <p14:creationId xmlns:p14="http://schemas.microsoft.com/office/powerpoint/2010/main" val="2835126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Separata n1. Roj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52231655-E814-554D-A77B-76AE9E4B8F36}"/>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187375944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para n2_Naranja">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3" y="1592921"/>
            <a:ext cx="6818927"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A1B5AB55-B564-F54E-A43A-49F65087AAEE}"/>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26843361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para n2_roj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2</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3" name="Imagen 12"/>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AF48F91E-AAFB-524A-95AE-FEB5DBF353FA}"/>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196130028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para n2_Verde">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FC254CD5-68FD-894C-AC6F-D3DF03A43FEB}"/>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420021338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para n2_Azul">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28F0CE16-977C-DF45-B8D7-297950F18BFA}"/>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190342855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para n2_Morad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22E0AD7B-150C-EB41-978F-26BBDF5F4223}"/>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108819201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Idea Prinicpal_Gris">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253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a:t>Haga clic para un texto destacado o una idea principal</a:t>
            </a:r>
            <a:endParaRPr lang="en-US"/>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1A3B47"/>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1A3B47"/>
              </a:solidFill>
              <a:effectLst/>
              <a:uLnTx/>
              <a:uFillTx/>
              <a:latin typeface="Soho Gothic Pro" panose="020B0503030504020204" pitchFamily="34" charset="77"/>
              <a:ea typeface="+mn-ea"/>
              <a:cs typeface="+mn-cs"/>
            </a:endParaRPr>
          </a:p>
        </p:txBody>
      </p:sp>
      <p:pic>
        <p:nvPicPr>
          <p:cNvPr id="17" name="Imagen 16"/>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9"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Tree>
    <p:extLst>
      <p:ext uri="{BB962C8B-B14F-4D97-AF65-F5344CB8AC3E}">
        <p14:creationId xmlns:p14="http://schemas.microsoft.com/office/powerpoint/2010/main" val="2287555138"/>
      </p:ext>
    </p:extLst>
  </p:cSld>
  <p:clrMapOvr>
    <a:overrideClrMapping bg1="lt1" tx1="dk1" bg2="lt2" tx2="dk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Idea principal. Piel">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25394"/>
            <a:ext cx="9475766" cy="5269827"/>
          </a:xfrm>
          <a:prstGeom prst="rect">
            <a:avLst/>
          </a:prstGeom>
        </p:spPr>
        <p:txBody>
          <a:bodyPr vert="horz" lIns="0" tIns="0" rIns="0" bIns="0" rtlCol="0" anchor="t">
            <a:noAutofit/>
          </a:bodyPr>
          <a:lstStyle>
            <a:lvl1pPr>
              <a:defRPr sz="3198">
                <a:solidFill>
                  <a:schemeClr val="bg1"/>
                </a:solidFill>
              </a:defRPr>
            </a:lvl1pPr>
          </a:lstStyle>
          <a:p>
            <a:r>
              <a:rPr lang="es-ES"/>
              <a:t>Haga clic para un texto destacado o una idea principal</a:t>
            </a:r>
            <a:endParaRPr lang="en-US"/>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913897"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1A3B47"/>
                </a:solidFill>
                <a:effectLst/>
                <a:uLnTx/>
                <a:uFillTx/>
                <a:latin typeface="Soho Gothic Pro" panose="020B0503030504020204" pitchFamily="34" charset="77"/>
                <a:ea typeface="+mn-ea"/>
                <a:cs typeface="+mn-cs"/>
              </a:rPr>
              <a:pPr marL="0" marR="0" lvl="0" indent="0" algn="r" defTabSz="913897"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1A3B47"/>
              </a:solidFill>
              <a:effectLst/>
              <a:uLnTx/>
              <a:uFillTx/>
              <a:latin typeface="Soho Gothic Pro" panose="020B0503030504020204" pitchFamily="34" charset="77"/>
              <a:ea typeface="+mn-ea"/>
              <a:cs typeface="+mn-cs"/>
            </a:endParaRPr>
          </a:p>
        </p:txBody>
      </p:sp>
      <p:pic>
        <p:nvPicPr>
          <p:cNvPr id="15" name="Imagen 14"/>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7"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Tree>
    <p:extLst>
      <p:ext uri="{BB962C8B-B14F-4D97-AF65-F5344CB8AC3E}">
        <p14:creationId xmlns:p14="http://schemas.microsoft.com/office/powerpoint/2010/main" val="233317805"/>
      </p:ext>
    </p:extLst>
  </p:cSld>
  <p:clrMapOvr>
    <a:overrideClrMapping bg1="dk1" tx1="lt1" bg2="dk2" tx2="lt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dea principal. Grafito">
    <p:bg>
      <p:bgRef idx="1001">
        <a:schemeClr val="bg1"/>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253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a:t>Haga clic para un texto destacado o una idea principal</a:t>
            </a:r>
            <a:endParaRPr lang="en-US"/>
          </a:p>
        </p:txBody>
      </p:sp>
      <p:sp>
        <p:nvSpPr>
          <p:cNvPr id="7"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2" name="Imagen 11"/>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5" name="Imagen 14">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2667982234"/>
      </p:ext>
    </p:extLst>
  </p:cSld>
  <p:clrMapOvr>
    <a:overrideClrMapping bg1="dk1" tx1="lt1" bg2="dk2"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Idea principal. Amarillo">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bg1"/>
                </a:solidFill>
              </a:defRPr>
            </a:lvl1pPr>
          </a:lstStyle>
          <a:p>
            <a:r>
              <a:rPr lang="es-ES"/>
              <a:t>Haga clic para un texto destacado o una idea principal</a:t>
            </a:r>
            <a:endParaRPr lang="en-US"/>
          </a:p>
        </p:txBody>
      </p:sp>
      <p:sp>
        <p:nvSpPr>
          <p:cNvPr id="14"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913897"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1A3B47"/>
                </a:solidFill>
                <a:effectLst/>
                <a:uLnTx/>
                <a:uFillTx/>
                <a:latin typeface="Soho Gothic Pro" panose="020B0503030504020204" pitchFamily="34" charset="77"/>
                <a:ea typeface="+mn-ea"/>
                <a:cs typeface="+mn-cs"/>
              </a:rPr>
              <a:pPr marL="0" marR="0" lvl="0" indent="0" algn="r" defTabSz="913897"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1A3B47"/>
              </a:solidFill>
              <a:effectLst/>
              <a:uLnTx/>
              <a:uFillTx/>
              <a:latin typeface="Soho Gothic Pro" panose="020B0503030504020204" pitchFamily="34" charset="77"/>
              <a:ea typeface="+mn-ea"/>
              <a:cs typeface="+mn-cs"/>
            </a:endParaRPr>
          </a:p>
        </p:txBody>
      </p:sp>
      <p:pic>
        <p:nvPicPr>
          <p:cNvPr id="18" name="Imagen 17"/>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9"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Tree>
    <p:extLst>
      <p:ext uri="{BB962C8B-B14F-4D97-AF65-F5344CB8AC3E}">
        <p14:creationId xmlns:p14="http://schemas.microsoft.com/office/powerpoint/2010/main" val="1980882472"/>
      </p:ext>
    </p:extLst>
  </p:cSld>
  <p:clrMapOvr>
    <a:overrideClrMapping bg1="dk1" tx1="lt1" bg2="dk2" tx2="lt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dea principal. Naranj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8"/>
            <a:ext cx="9475766" cy="5269827"/>
          </a:xfrm>
          <a:prstGeom prst="rect">
            <a:avLst/>
          </a:prstGeom>
        </p:spPr>
        <p:txBody>
          <a:bodyPr vert="horz" lIns="0" tIns="0" rIns="0" bIns="0" rtlCol="0" anchor="t">
            <a:noAutofit/>
          </a:bodyPr>
          <a:lstStyle>
            <a:lvl1pPr>
              <a:defRPr sz="3198">
                <a:solidFill>
                  <a:schemeClr val="tx1"/>
                </a:solidFill>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2663816236"/>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Separata n1. Verde">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A23CE7FB-CF5A-CA42-B78E-69EC6A848FB0}"/>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34867971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Idea principal. Ros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1747660721"/>
      </p:ext>
    </p:extLst>
  </p:cSld>
  <p:clrMapOvr>
    <a:overrideClrMapping bg1="dk1" tx1="lt1" bg2="dk2" tx2="lt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Idea principal. Verde">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1648373125"/>
      </p:ext>
    </p:extLst>
  </p:cSld>
  <p:clrMapOvr>
    <a:overrideClrMapping bg1="dk1" tx1="lt1" bg2="dk2" tx2="lt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Idea principal. Azul">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8"/>
            <a:ext cx="9475766" cy="5269827"/>
          </a:xfrm>
          <a:prstGeom prst="rect">
            <a:avLst/>
          </a:prstGeom>
        </p:spPr>
        <p:txBody>
          <a:bodyPr vert="horz" lIns="0" tIns="0" rIns="0" bIns="0" rtlCol="0" anchor="t">
            <a:noAutofit/>
          </a:bodyPr>
          <a:lstStyle>
            <a:lvl1pPr>
              <a:defRPr sz="3198">
                <a:solidFill>
                  <a:schemeClr val="tx1"/>
                </a:solidFill>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2674229745"/>
      </p:ext>
    </p:extLst>
  </p:cSld>
  <p:clrMapOvr>
    <a:overrideClrMapping bg1="dk1" tx1="lt1" bg2="dk2" tx2="lt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Idea principal. Morado">
    <p:bg>
      <p:bgRef idx="1001">
        <a:schemeClr val="bg2"/>
      </p:bgRef>
    </p:bg>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41856" name="Diapositiva de think-cell" r:id="rId5" imgW="270" imgH="270" progId="TCLayout.ActiveDocument.1">
                  <p:embed/>
                </p:oleObj>
              </mc:Choice>
              <mc:Fallback>
                <p:oleObj name="Diapositiva de think-cell" r:id="rId5" imgW="270" imgH="270" progId="TCLayout.ActiveDocument.1">
                  <p:embed/>
                  <p:pic>
                    <p:nvPicPr>
                      <p:cNvPr id="4" name="Objeto 3"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3" name="Rectángulo 2"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2665" b="0" i="0" u="none" strike="noStrike" kern="1200" cap="none" spc="0" normalizeH="0" baseline="0" noProof="0">
              <a:ln>
                <a:noFill/>
              </a:ln>
              <a:solidFill>
                <a:srgbClr val="FFFFFF"/>
              </a:solidFill>
              <a:effectLst/>
              <a:uLnTx/>
              <a:uFillTx/>
              <a:latin typeface="Playfair Display" panose="00000500000000000000"/>
              <a:ea typeface="+mn-ea"/>
              <a:cs typeface="+mn-cs"/>
              <a:sym typeface="Playfair Display" panose="00000500000000000000"/>
            </a:endParaRPr>
          </a:p>
        </p:txBody>
      </p:sp>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pic>
        <p:nvPicPr>
          <p:cNvPr id="19" name="Imagen 18">
            <a:extLst>
              <a:ext uri="{FF2B5EF4-FFF2-40B4-BE49-F238E27FC236}">
                <a16:creationId xmlns:a16="http://schemas.microsoft.com/office/drawing/2014/main" id="{A3612F95-8251-5349-ABFE-8A62EF3295EE}"/>
              </a:ext>
            </a:extLst>
          </p:cNvPr>
          <p:cNvPicPr>
            <a:picLocks noChangeAspect="1"/>
          </p:cNvPicPr>
          <p:nvPr userDrawn="1"/>
        </p:nvPicPr>
        <p:blipFill>
          <a:blip r:embed="rId7"/>
          <a:stretch>
            <a:fillRect/>
          </a:stretch>
        </p:blipFill>
        <p:spPr>
          <a:xfrm>
            <a:off x="336001" y="6505495"/>
            <a:ext cx="859201" cy="170476"/>
          </a:xfrm>
          <a:prstGeom prst="rect">
            <a:avLst/>
          </a:prstGeom>
        </p:spPr>
      </p:pic>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6" name="Imagen 15"/>
          <p:cNvPicPr>
            <a:picLocks noChangeAspect="1"/>
          </p:cNvPicPr>
          <p:nvPr userDrawn="1"/>
        </p:nvPicPr>
        <p:blipFill>
          <a:blip r:embed="rId8">
            <a:lum bright="100000" contrast="-70000"/>
          </a:blip>
          <a:stretch>
            <a:fillRect/>
          </a:stretch>
        </p:blipFill>
        <p:spPr>
          <a:xfrm>
            <a:off x="8887258" y="6540533"/>
            <a:ext cx="1145182" cy="248840"/>
          </a:xfrm>
          <a:prstGeom prst="rect">
            <a:avLst/>
          </a:prstGeom>
        </p:spPr>
      </p:pic>
    </p:spTree>
    <p:extLst>
      <p:ext uri="{BB962C8B-B14F-4D97-AF65-F5344CB8AC3E}">
        <p14:creationId xmlns:p14="http://schemas.microsoft.com/office/powerpoint/2010/main" val="2857857764"/>
      </p:ext>
    </p:extLst>
  </p:cSld>
  <p:clrMapOvr>
    <a:overrideClrMapping bg1="dk1" tx1="lt1" bg2="dk2" tx2="lt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Naranj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6016"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2665"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spTree>
    <p:extLst>
      <p:ext uri="{BB962C8B-B14F-4D97-AF65-F5344CB8AC3E}">
        <p14:creationId xmlns:p14="http://schemas.microsoft.com/office/powerpoint/2010/main" val="191719420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Naranj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42880"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2665"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spTree>
    <p:extLst>
      <p:ext uri="{BB962C8B-B14F-4D97-AF65-F5344CB8AC3E}">
        <p14:creationId xmlns:p14="http://schemas.microsoft.com/office/powerpoint/2010/main" val="308721251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Amarillo endoso">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43904" name="Diapositiva de think-cell" r:id="rId5" imgW="270" imgH="270" progId="TCLayout.ActiveDocument.1">
                  <p:embed/>
                </p:oleObj>
              </mc:Choice>
              <mc:Fallback>
                <p:oleObj name="Diapositiva de think-cell" r:id="rId5" imgW="270" imgH="270" progId="TCLayout.ActiveDocument.1">
                  <p:embed/>
                  <p:pic>
                    <p:nvPicPr>
                      <p:cNvPr id="11" name="Objeto 10"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10" name="Rectángulo 9"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2665"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5999" y="649095"/>
            <a:ext cx="11521567"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6" name="12 Marcador de texto"/>
          <p:cNvSpPr>
            <a:spLocks noGrp="1"/>
          </p:cNvSpPr>
          <p:nvPr>
            <p:ph type="body" sz="quarter" idx="13"/>
          </p:nvPr>
        </p:nvSpPr>
        <p:spPr>
          <a:xfrm>
            <a:off x="336001" y="357000"/>
            <a:ext cx="11521566"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15" name="Grupo 14"/>
          <p:cNvGrpSpPr/>
          <p:nvPr userDrawn="1"/>
        </p:nvGrpSpPr>
        <p:grpSpPr>
          <a:xfrm>
            <a:off x="10328936" y="6242390"/>
            <a:ext cx="1871531" cy="642611"/>
            <a:chOff x="8064500" y="4790414"/>
            <a:chExt cx="1083150" cy="371911"/>
          </a:xfrm>
        </p:grpSpPr>
        <p:sp>
          <p:nvSpPr>
            <p:cNvPr id="16" name="Forma libre 15">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7"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grpSp>
      <p:pic>
        <p:nvPicPr>
          <p:cNvPr id="18" name="Imagen 17"/>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9"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20"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spTree>
    <p:extLst>
      <p:ext uri="{BB962C8B-B14F-4D97-AF65-F5344CB8AC3E}">
        <p14:creationId xmlns:p14="http://schemas.microsoft.com/office/powerpoint/2010/main" val="26651496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marillo sin endoso">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44928" name="Diapositiva de think-cell" r:id="rId5" imgW="270" imgH="270" progId="TCLayout.ActiveDocument.1">
                  <p:embed/>
                </p:oleObj>
              </mc:Choice>
              <mc:Fallback>
                <p:oleObj name="Diapositiva de think-cell" r:id="rId5" imgW="270" imgH="270" progId="TCLayout.ActiveDocument.1">
                  <p:embed/>
                  <p:pic>
                    <p:nvPicPr>
                      <p:cNvPr id="11" name="Objeto 10"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10" name="Rectángulo 9"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2665"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5999" y="649095"/>
            <a:ext cx="11521567"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6" name="12 Marcador de texto"/>
          <p:cNvSpPr>
            <a:spLocks noGrp="1"/>
          </p:cNvSpPr>
          <p:nvPr>
            <p:ph type="body" sz="quarter" idx="13"/>
          </p:nvPr>
        </p:nvSpPr>
        <p:spPr>
          <a:xfrm>
            <a:off x="336001" y="357000"/>
            <a:ext cx="11521566"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15" name="Grupo 14"/>
          <p:cNvGrpSpPr/>
          <p:nvPr userDrawn="1"/>
        </p:nvGrpSpPr>
        <p:grpSpPr>
          <a:xfrm>
            <a:off x="10328936" y="6242390"/>
            <a:ext cx="1871531" cy="642611"/>
            <a:chOff x="8064500" y="4790414"/>
            <a:chExt cx="1083150" cy="371911"/>
          </a:xfrm>
        </p:grpSpPr>
        <p:sp>
          <p:nvSpPr>
            <p:cNvPr id="16" name="Forma libre 15">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7"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grpSp>
      <p:sp>
        <p:nvSpPr>
          <p:cNvPr id="20"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spTree>
    <p:extLst>
      <p:ext uri="{BB962C8B-B14F-4D97-AF65-F5344CB8AC3E}">
        <p14:creationId xmlns:p14="http://schemas.microsoft.com/office/powerpoint/2010/main" val="212765913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Ros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45952"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2665"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spTree>
    <p:extLst>
      <p:ext uri="{BB962C8B-B14F-4D97-AF65-F5344CB8AC3E}">
        <p14:creationId xmlns:p14="http://schemas.microsoft.com/office/powerpoint/2010/main" val="264553314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Ros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46976"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2665"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spTree>
    <p:extLst>
      <p:ext uri="{BB962C8B-B14F-4D97-AF65-F5344CB8AC3E}">
        <p14:creationId xmlns:p14="http://schemas.microsoft.com/office/powerpoint/2010/main" val="17942411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Separata n1. Azu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881361F9-92A8-6949-BEF9-77B573EB2B51}"/>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223640237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Verde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48000"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2665"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spTree>
    <p:extLst>
      <p:ext uri="{BB962C8B-B14F-4D97-AF65-F5344CB8AC3E}">
        <p14:creationId xmlns:p14="http://schemas.microsoft.com/office/powerpoint/2010/main" val="326818007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Verde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49024"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2665"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spTree>
    <p:extLst>
      <p:ext uri="{BB962C8B-B14F-4D97-AF65-F5344CB8AC3E}">
        <p14:creationId xmlns:p14="http://schemas.microsoft.com/office/powerpoint/2010/main" val="281052926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Azul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50048"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2665"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userDrawn="1"/>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spTree>
    <p:extLst>
      <p:ext uri="{BB962C8B-B14F-4D97-AF65-F5344CB8AC3E}">
        <p14:creationId xmlns:p14="http://schemas.microsoft.com/office/powerpoint/2010/main" val="327528956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Azul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51072"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2665"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userDrawn="1"/>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spTree>
    <p:extLst>
      <p:ext uri="{BB962C8B-B14F-4D97-AF65-F5344CB8AC3E}">
        <p14:creationId xmlns:p14="http://schemas.microsoft.com/office/powerpoint/2010/main" val="13414007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il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52096"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2665"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userDrawn="1"/>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spTree>
    <p:extLst>
      <p:ext uri="{BB962C8B-B14F-4D97-AF65-F5344CB8AC3E}">
        <p14:creationId xmlns:p14="http://schemas.microsoft.com/office/powerpoint/2010/main" val="100423489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Lil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53120"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2665"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userDrawn="1"/>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spTree>
    <p:extLst>
      <p:ext uri="{BB962C8B-B14F-4D97-AF65-F5344CB8AC3E}">
        <p14:creationId xmlns:p14="http://schemas.microsoft.com/office/powerpoint/2010/main" val="8866443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Separata n1. Morad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74E9E540-B7BF-4344-8072-B7008201BE20}"/>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38800158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para n2_Grafit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760C3CE1-1E28-6546-9D6D-A09B9CDA1994}"/>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34960931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para n2_Piel">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1A3B47"/>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1A3B47"/>
              </a:solidFill>
              <a:effectLst/>
              <a:uLnTx/>
              <a:uFillTx/>
              <a:latin typeface="Soho Gothic Pro" panose="020B0503030504020204" pitchFamily="34" charset="77"/>
              <a:ea typeface="+mn-ea"/>
              <a:cs typeface="+mn-cs"/>
            </a:endParaRPr>
          </a:p>
        </p:txBody>
      </p:sp>
      <p:pic>
        <p:nvPicPr>
          <p:cNvPr id="14" name="Imagen 13"/>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DEC9B28E-6B7A-0E4E-B90F-9C217C75299E}"/>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33646790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para n1_Amarill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1A3B47"/>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1A3B47"/>
              </a:solidFill>
              <a:effectLst/>
              <a:uLnTx/>
              <a:uFillTx/>
              <a:latin typeface="Soho Gothic Pro" panose="020B0503030504020204" pitchFamily="34" charset="77"/>
              <a:ea typeface="+mn-ea"/>
              <a:cs typeface="+mn-cs"/>
            </a:endParaRPr>
          </a:p>
        </p:txBody>
      </p:sp>
      <p:pic>
        <p:nvPicPr>
          <p:cNvPr id="15" name="Imagen 14"/>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59D1119D-7D51-D44F-94AB-E6DA2AD81F78}"/>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10609577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para n2_Naranja">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3" y="1592921"/>
            <a:ext cx="6818927"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A1B5AB55-B564-F54E-A43A-49F65087AAEE}"/>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2684336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para n2_roj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2</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3" name="Imagen 12"/>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AF48F91E-AAFB-524A-95AE-FEB5DBF353FA}"/>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19613002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para n2_Verde">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FC254CD5-68FD-894C-AC6F-D3DF03A43FEB}"/>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42002133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Portada foto 2">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B687104C-16D4-5049-93EC-3E0017E53BB5}"/>
              </a:ext>
            </a:extLst>
          </p:cNvPr>
          <p:cNvSpPr>
            <a:spLocks noGrp="1"/>
          </p:cNvSpPr>
          <p:nvPr>
            <p:ph type="pic" sz="quarter" idx="14"/>
          </p:nvPr>
        </p:nvSpPr>
        <p:spPr>
          <a:xfrm>
            <a:off x="0" y="0"/>
            <a:ext cx="12192000" cy="6858000"/>
          </a:xfrm>
          <a:prstGeom prst="rect">
            <a:avLst/>
          </a:prstGeom>
        </p:spPr>
        <p:txBody>
          <a:bodyPr anchor="t"/>
          <a:lstStyle>
            <a:lvl1pPr marL="0" indent="0" algn="ctr">
              <a:buNone/>
              <a:defRPr/>
            </a:lvl1pPr>
          </a:lstStyle>
          <a:p>
            <a:r>
              <a:rPr lang="es-ES"/>
              <a:t>Haga clic en el icono para agregar una imagen</a:t>
            </a:r>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1" y="3311240"/>
            <a:ext cx="4842163" cy="248041"/>
          </a:xfrm>
          <a:prstGeom prst="rect">
            <a:avLst/>
          </a:prstGeom>
        </p:spPr>
        <p:txBody>
          <a:bodyPr lIns="0" tIns="0" rIns="0" bIns="0"/>
          <a:lstStyle>
            <a:lvl1pPr marL="0" indent="0">
              <a:buNone/>
              <a:defRPr sz="1866"/>
            </a:lvl1pPr>
          </a:lstStyle>
          <a:p>
            <a:r>
              <a:rPr lang="es-ES"/>
              <a:t>Editar el subtitulo de la presentación 
</a:t>
            </a:r>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336002" y="3743044"/>
            <a:ext cx="3725333" cy="159485"/>
          </a:xfrm>
          <a:prstGeom prst="rect">
            <a:avLst/>
          </a:prstGeom>
        </p:spPr>
        <p:txBody>
          <a:bodyPr lIns="0" tIns="0" rIns="0" bIns="0"/>
          <a:lstStyle>
            <a:lvl1pPr marL="0" indent="0">
              <a:buNone/>
              <a:defRPr sz="1333"/>
            </a:lvl1pPr>
          </a:lstStyle>
          <a:p>
            <a:r>
              <a:rPr lang="es-ES"/>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336000" y="382577"/>
            <a:ext cx="1799167" cy="639233"/>
          </a:xfrm>
          <a:prstGeom prst="rect">
            <a:avLst/>
          </a:prstGeom>
        </p:spPr>
        <p:txBody>
          <a:bodyPr anchor="ctr"/>
          <a:lstStyle>
            <a:lvl1pPr marL="0" indent="0" algn="ctr">
              <a:buNone/>
              <a:defRPr sz="1333"/>
            </a:lvl1pPr>
          </a:lstStyle>
          <a:p>
            <a:r>
              <a:rPr lang="es-ES"/>
              <a:t>Logo cliente</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49675" y="1421649"/>
            <a:ext cx="7563994" cy="1648341"/>
          </a:xfrm>
          <a:prstGeom prst="rect">
            <a:avLst/>
          </a:prstGeom>
        </p:spPr>
        <p:txBody>
          <a:bodyPr vert="horz" lIns="0" tIns="0" rIns="0" bIns="0" rtlCol="0" anchor="t">
            <a:noAutofit/>
          </a:bodyPr>
          <a:lstStyle>
            <a:lvl1pPr>
              <a:defRPr sz="5330"/>
            </a:lvl1pPr>
          </a:lstStyle>
          <a:p>
            <a:r>
              <a:rPr lang="es-ES"/>
              <a:t>Haga clic para el título principal</a:t>
            </a:r>
            <a:endParaRPr lang="en-US"/>
          </a:p>
        </p:txBody>
      </p:sp>
    </p:spTree>
    <p:extLst>
      <p:ext uri="{BB962C8B-B14F-4D97-AF65-F5344CB8AC3E}">
        <p14:creationId xmlns:p14="http://schemas.microsoft.com/office/powerpoint/2010/main" val="29064745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para n2_Azul">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28F0CE16-977C-DF45-B8D7-297950F18BFA}"/>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19034285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para n2_Morad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22E0AD7B-150C-EB41-978F-26BBDF5F4223}"/>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10881920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dea Prinicpal_Gris">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253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a:t>Haga clic para un texto destacado o una idea principal</a:t>
            </a:r>
            <a:endParaRPr lang="en-US"/>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1A3B47"/>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1A3B47"/>
              </a:solidFill>
              <a:effectLst/>
              <a:uLnTx/>
              <a:uFillTx/>
              <a:latin typeface="Soho Gothic Pro" panose="020B0503030504020204" pitchFamily="34" charset="77"/>
              <a:ea typeface="+mn-ea"/>
              <a:cs typeface="+mn-cs"/>
            </a:endParaRPr>
          </a:p>
        </p:txBody>
      </p:sp>
      <p:pic>
        <p:nvPicPr>
          <p:cNvPr id="17" name="Imagen 16"/>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9"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Tree>
    <p:extLst>
      <p:ext uri="{BB962C8B-B14F-4D97-AF65-F5344CB8AC3E}">
        <p14:creationId xmlns:p14="http://schemas.microsoft.com/office/powerpoint/2010/main" val="2287555138"/>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dea principal. Piel">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25394"/>
            <a:ext cx="9475766" cy="5269827"/>
          </a:xfrm>
          <a:prstGeom prst="rect">
            <a:avLst/>
          </a:prstGeom>
        </p:spPr>
        <p:txBody>
          <a:bodyPr vert="horz" lIns="0" tIns="0" rIns="0" bIns="0" rtlCol="0" anchor="t">
            <a:noAutofit/>
          </a:bodyPr>
          <a:lstStyle>
            <a:lvl1pPr>
              <a:defRPr sz="3198">
                <a:solidFill>
                  <a:schemeClr val="bg1"/>
                </a:solidFill>
              </a:defRPr>
            </a:lvl1pPr>
          </a:lstStyle>
          <a:p>
            <a:r>
              <a:rPr lang="es-ES"/>
              <a:t>Haga clic para un texto destacado o una idea principal</a:t>
            </a:r>
            <a:endParaRPr lang="en-US"/>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913897"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1A3B47"/>
                </a:solidFill>
                <a:effectLst/>
                <a:uLnTx/>
                <a:uFillTx/>
                <a:latin typeface="Soho Gothic Pro" panose="020B0503030504020204" pitchFamily="34" charset="77"/>
                <a:ea typeface="+mn-ea"/>
                <a:cs typeface="+mn-cs"/>
              </a:rPr>
              <a:pPr marL="0" marR="0" lvl="0" indent="0" algn="r" defTabSz="913897"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1A3B47"/>
              </a:solidFill>
              <a:effectLst/>
              <a:uLnTx/>
              <a:uFillTx/>
              <a:latin typeface="Soho Gothic Pro" panose="020B0503030504020204" pitchFamily="34" charset="77"/>
              <a:ea typeface="+mn-ea"/>
              <a:cs typeface="+mn-cs"/>
            </a:endParaRPr>
          </a:p>
        </p:txBody>
      </p:sp>
      <p:pic>
        <p:nvPicPr>
          <p:cNvPr id="15" name="Imagen 14"/>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7"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Tree>
    <p:extLst>
      <p:ext uri="{BB962C8B-B14F-4D97-AF65-F5344CB8AC3E}">
        <p14:creationId xmlns:p14="http://schemas.microsoft.com/office/powerpoint/2010/main" val="233317805"/>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dea principal. Grafito">
    <p:bg>
      <p:bgRef idx="1001">
        <a:schemeClr val="bg1"/>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253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a:t>Haga clic para un texto destacado o una idea principal</a:t>
            </a:r>
            <a:endParaRPr lang="en-US"/>
          </a:p>
        </p:txBody>
      </p:sp>
      <p:sp>
        <p:nvSpPr>
          <p:cNvPr id="7"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2" name="Imagen 11"/>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5" name="Imagen 14">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2667982234"/>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dea principal. Amarillo">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bg1"/>
                </a:solidFill>
              </a:defRPr>
            </a:lvl1pPr>
          </a:lstStyle>
          <a:p>
            <a:r>
              <a:rPr lang="es-ES"/>
              <a:t>Haga clic para un texto destacado o una idea principal</a:t>
            </a:r>
            <a:endParaRPr lang="en-US"/>
          </a:p>
        </p:txBody>
      </p:sp>
      <p:sp>
        <p:nvSpPr>
          <p:cNvPr id="14"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913897"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1A3B47"/>
                </a:solidFill>
                <a:effectLst/>
                <a:uLnTx/>
                <a:uFillTx/>
                <a:latin typeface="Soho Gothic Pro" panose="020B0503030504020204" pitchFamily="34" charset="77"/>
                <a:ea typeface="+mn-ea"/>
                <a:cs typeface="+mn-cs"/>
              </a:rPr>
              <a:pPr marL="0" marR="0" lvl="0" indent="0" algn="r" defTabSz="913897"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1A3B47"/>
              </a:solidFill>
              <a:effectLst/>
              <a:uLnTx/>
              <a:uFillTx/>
              <a:latin typeface="Soho Gothic Pro" panose="020B0503030504020204" pitchFamily="34" charset="77"/>
              <a:ea typeface="+mn-ea"/>
              <a:cs typeface="+mn-cs"/>
            </a:endParaRPr>
          </a:p>
        </p:txBody>
      </p:sp>
      <p:pic>
        <p:nvPicPr>
          <p:cNvPr id="18" name="Imagen 17"/>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9"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Tree>
    <p:extLst>
      <p:ext uri="{BB962C8B-B14F-4D97-AF65-F5344CB8AC3E}">
        <p14:creationId xmlns:p14="http://schemas.microsoft.com/office/powerpoint/2010/main" val="1980882472"/>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dea principal. Naranj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8"/>
            <a:ext cx="9475766" cy="5269827"/>
          </a:xfrm>
          <a:prstGeom prst="rect">
            <a:avLst/>
          </a:prstGeom>
        </p:spPr>
        <p:txBody>
          <a:bodyPr vert="horz" lIns="0" tIns="0" rIns="0" bIns="0" rtlCol="0" anchor="t">
            <a:noAutofit/>
          </a:bodyPr>
          <a:lstStyle>
            <a:lvl1pPr>
              <a:defRPr sz="3198">
                <a:solidFill>
                  <a:schemeClr val="tx1"/>
                </a:solidFill>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2663816236"/>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dea principal. Ros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1747660721"/>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dea principal. Verde">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1648373125"/>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dea principal. Azul">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8"/>
            <a:ext cx="9475766" cy="5269827"/>
          </a:xfrm>
          <a:prstGeom prst="rect">
            <a:avLst/>
          </a:prstGeom>
        </p:spPr>
        <p:txBody>
          <a:bodyPr vert="horz" lIns="0" tIns="0" rIns="0" bIns="0" rtlCol="0" anchor="t">
            <a:noAutofit/>
          </a:bodyPr>
          <a:lstStyle>
            <a:lvl1pPr>
              <a:defRPr sz="3198">
                <a:solidFill>
                  <a:schemeClr val="tx1"/>
                </a:solidFill>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2674229745"/>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Portada blanca">
    <p:spTree>
      <p:nvGrpSpPr>
        <p:cNvPr id="1" name=""/>
        <p:cNvGrpSpPr/>
        <p:nvPr/>
      </p:nvGrpSpPr>
      <p:grpSpPr>
        <a:xfrm>
          <a:off x="0" y="0"/>
          <a:ext cx="0" cy="0"/>
          <a:chOff x="0" y="0"/>
          <a:chExt cx="0" cy="0"/>
        </a:xfrm>
      </p:grpSpPr>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4" y="4414944"/>
            <a:ext cx="5651500" cy="290408"/>
          </a:xfrm>
          <a:prstGeom prst="rect">
            <a:avLst/>
          </a:prstGeom>
        </p:spPr>
        <p:txBody>
          <a:bodyPr lIns="0" tIns="0" rIns="0" bIns="0"/>
          <a:lstStyle>
            <a:lvl1pPr marL="0" indent="0">
              <a:buNone/>
              <a:defRPr sz="1800"/>
            </a:lvl1pPr>
          </a:lstStyle>
          <a:p>
            <a:r>
              <a:rPr lang="es-ES"/>
              <a:t>Editar el subtitulo de la presentación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2" y="2428697"/>
            <a:ext cx="6310745" cy="1648341"/>
          </a:xfrm>
          <a:prstGeom prst="rect">
            <a:avLst/>
          </a:prstGeom>
        </p:spPr>
        <p:txBody>
          <a:bodyPr vert="horz" lIns="0" tIns="0" rIns="0" bIns="0" rtlCol="0" anchor="t">
            <a:noAutofit/>
          </a:bodyPr>
          <a:lstStyle>
            <a:lvl1pPr>
              <a:defRPr sz="4400"/>
            </a:lvl1pPr>
          </a:lstStyle>
          <a:p>
            <a:r>
              <a:rPr lang="es-ES"/>
              <a:t>Haga clic para </a:t>
            </a:r>
            <a:br>
              <a:rPr lang="es-ES"/>
            </a:br>
            <a:r>
              <a:rPr lang="es-ES"/>
              <a:t>el título principal</a:t>
            </a:r>
            <a:endParaRPr lang="en-US"/>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336004" y="4853097"/>
            <a:ext cx="5651500" cy="199445"/>
          </a:xfrm>
          <a:prstGeom prst="rect">
            <a:avLst/>
          </a:prstGeom>
        </p:spPr>
        <p:txBody>
          <a:bodyPr lIns="0" tIns="0" rIns="0" bIns="0"/>
          <a:lstStyle>
            <a:lvl1pPr marL="0" indent="0">
              <a:buNone/>
              <a:defRPr sz="1600"/>
            </a:lvl1pPr>
          </a:lstStyle>
          <a:p>
            <a:r>
              <a:rPr lang="es-ES"/>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336000" y="986371"/>
            <a:ext cx="1799167" cy="639233"/>
          </a:xfrm>
          <a:prstGeom prst="rect">
            <a:avLst/>
          </a:prstGeom>
        </p:spPr>
        <p:txBody>
          <a:bodyPr anchor="ctr"/>
          <a:lstStyle>
            <a:lvl1pPr marL="0" indent="0" algn="ctr">
              <a:buNone/>
              <a:defRPr sz="1333"/>
            </a:lvl1pPr>
          </a:lstStyle>
          <a:p>
            <a:r>
              <a:rPr lang="es-ES"/>
              <a:t>Logo cliente</a:t>
            </a:r>
          </a:p>
        </p:txBody>
      </p:sp>
      <p:pic>
        <p:nvPicPr>
          <p:cNvPr id="7" name="Imagen 6">
            <a:extLst>
              <a:ext uri="{FF2B5EF4-FFF2-40B4-BE49-F238E27FC236}">
                <a16:creationId xmlns:a16="http://schemas.microsoft.com/office/drawing/2014/main" id="{DB9B7611-A75B-714A-9D2A-408948DB3B58}"/>
              </a:ext>
            </a:extLst>
          </p:cNvPr>
          <p:cNvPicPr>
            <a:picLocks noChangeAspect="1"/>
          </p:cNvPicPr>
          <p:nvPr userDrawn="1"/>
        </p:nvPicPr>
        <p:blipFill>
          <a:blip r:embed="rId2"/>
          <a:stretch>
            <a:fillRect/>
          </a:stretch>
        </p:blipFill>
        <p:spPr>
          <a:xfrm>
            <a:off x="8085668" y="6337302"/>
            <a:ext cx="1444604" cy="176283"/>
          </a:xfrm>
          <a:prstGeom prst="rect">
            <a:avLst/>
          </a:prstGeom>
        </p:spPr>
      </p:pic>
      <p:pic>
        <p:nvPicPr>
          <p:cNvPr id="9" name="Imagen 8">
            <a:extLst>
              <a:ext uri="{FF2B5EF4-FFF2-40B4-BE49-F238E27FC236}">
                <a16:creationId xmlns:a16="http://schemas.microsoft.com/office/drawing/2014/main" id="{57AA245C-134F-EB49-90BA-678E5983EABD}"/>
              </a:ext>
            </a:extLst>
          </p:cNvPr>
          <p:cNvPicPr>
            <a:picLocks noChangeAspect="1"/>
          </p:cNvPicPr>
          <p:nvPr userDrawn="1"/>
        </p:nvPicPr>
        <p:blipFill>
          <a:blip r:embed="rId3"/>
          <a:stretch>
            <a:fillRect/>
          </a:stretch>
        </p:blipFill>
        <p:spPr>
          <a:xfrm>
            <a:off x="385014" y="6118996"/>
            <a:ext cx="1795156" cy="356183"/>
          </a:xfrm>
          <a:prstGeom prst="rect">
            <a:avLst/>
          </a:prstGeom>
        </p:spPr>
      </p:pic>
      <p:grpSp>
        <p:nvGrpSpPr>
          <p:cNvPr id="11" name="Grupo 10">
            <a:extLst>
              <a:ext uri="{FF2B5EF4-FFF2-40B4-BE49-F238E27FC236}">
                <a16:creationId xmlns:a16="http://schemas.microsoft.com/office/drawing/2014/main" id="{72D46510-3BCB-3746-AD05-84A58DE8C86D}"/>
              </a:ext>
            </a:extLst>
          </p:cNvPr>
          <p:cNvGrpSpPr/>
          <p:nvPr userDrawn="1"/>
        </p:nvGrpSpPr>
        <p:grpSpPr>
          <a:xfrm>
            <a:off x="6846376" y="1346032"/>
            <a:ext cx="2093250" cy="3698006"/>
            <a:chOff x="4700634" y="1022350"/>
            <a:chExt cx="1569938" cy="2774950"/>
          </a:xfrm>
          <a:solidFill>
            <a:schemeClr val="accent2"/>
          </a:solidFill>
        </p:grpSpPr>
        <p:sp>
          <p:nvSpPr>
            <p:cNvPr id="12" name="Rectángulo 6">
              <a:extLst>
                <a:ext uri="{FF2B5EF4-FFF2-40B4-BE49-F238E27FC236}">
                  <a16:creationId xmlns:a16="http://schemas.microsoft.com/office/drawing/2014/main" id="{7B3603A7-D7F6-D447-AC7E-DCEDD18B5644}"/>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3" name="Rectángulo 12">
              <a:extLst>
                <a:ext uri="{FF2B5EF4-FFF2-40B4-BE49-F238E27FC236}">
                  <a16:creationId xmlns:a16="http://schemas.microsoft.com/office/drawing/2014/main" id="{DEF7F3DA-3318-B54A-A86E-1C0912576A14}"/>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4" name="Rectángulo 13">
              <a:extLst>
                <a:ext uri="{FF2B5EF4-FFF2-40B4-BE49-F238E27FC236}">
                  <a16:creationId xmlns:a16="http://schemas.microsoft.com/office/drawing/2014/main" id="{AF95EF0D-64BD-8C41-9271-7C7E67BA1752}"/>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5" name="Rectángulo 14">
              <a:extLst>
                <a:ext uri="{FF2B5EF4-FFF2-40B4-BE49-F238E27FC236}">
                  <a16:creationId xmlns:a16="http://schemas.microsoft.com/office/drawing/2014/main" id="{7C54F4E3-09F1-DA4F-AC1E-D94DC533F11F}"/>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grpSp>
      <p:grpSp>
        <p:nvGrpSpPr>
          <p:cNvPr id="16" name="Grupo 15">
            <a:extLst>
              <a:ext uri="{FF2B5EF4-FFF2-40B4-BE49-F238E27FC236}">
                <a16:creationId xmlns:a16="http://schemas.microsoft.com/office/drawing/2014/main" id="{EB2B45F2-8D32-A344-93BE-979FC74FCFB7}"/>
              </a:ext>
            </a:extLst>
          </p:cNvPr>
          <p:cNvGrpSpPr/>
          <p:nvPr userDrawn="1"/>
        </p:nvGrpSpPr>
        <p:grpSpPr>
          <a:xfrm>
            <a:off x="8154785" y="1346032"/>
            <a:ext cx="2093250" cy="3698006"/>
            <a:chOff x="4700634" y="1022350"/>
            <a:chExt cx="1569938" cy="2774950"/>
          </a:xfrm>
          <a:solidFill>
            <a:schemeClr val="tx2"/>
          </a:solidFill>
        </p:grpSpPr>
        <p:sp>
          <p:nvSpPr>
            <p:cNvPr id="17" name="Rectángulo 6">
              <a:extLst>
                <a:ext uri="{FF2B5EF4-FFF2-40B4-BE49-F238E27FC236}">
                  <a16:creationId xmlns:a16="http://schemas.microsoft.com/office/drawing/2014/main" id="{B5C53D1D-2BE8-DC4D-9686-EE7D25277B36}"/>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8" name="Rectángulo 17">
              <a:extLst>
                <a:ext uri="{FF2B5EF4-FFF2-40B4-BE49-F238E27FC236}">
                  <a16:creationId xmlns:a16="http://schemas.microsoft.com/office/drawing/2014/main" id="{F900BB0B-5327-5945-98EC-D80CC934A2A3}"/>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9" name="Rectángulo 18">
              <a:extLst>
                <a:ext uri="{FF2B5EF4-FFF2-40B4-BE49-F238E27FC236}">
                  <a16:creationId xmlns:a16="http://schemas.microsoft.com/office/drawing/2014/main" id="{B1DD8B18-64B5-4948-BB66-287B0484AF59}"/>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20" name="Rectángulo 19">
              <a:extLst>
                <a:ext uri="{FF2B5EF4-FFF2-40B4-BE49-F238E27FC236}">
                  <a16:creationId xmlns:a16="http://schemas.microsoft.com/office/drawing/2014/main" id="{D12A53A6-630E-7B4D-A7A5-8AA797881B4E}"/>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grpSp>
      <p:grpSp>
        <p:nvGrpSpPr>
          <p:cNvPr id="21" name="Grupo 20">
            <a:extLst>
              <a:ext uri="{FF2B5EF4-FFF2-40B4-BE49-F238E27FC236}">
                <a16:creationId xmlns:a16="http://schemas.microsoft.com/office/drawing/2014/main" id="{C733D58C-D2A1-9040-B07D-82C6EAEF6E32}"/>
              </a:ext>
            </a:extLst>
          </p:cNvPr>
          <p:cNvGrpSpPr/>
          <p:nvPr userDrawn="1"/>
        </p:nvGrpSpPr>
        <p:grpSpPr>
          <a:xfrm>
            <a:off x="9463196" y="1346032"/>
            <a:ext cx="2093250" cy="3698006"/>
            <a:chOff x="4700634" y="1022350"/>
            <a:chExt cx="1569938" cy="2774950"/>
          </a:xfrm>
          <a:solidFill>
            <a:schemeClr val="accent5"/>
          </a:solidFill>
        </p:grpSpPr>
        <p:sp>
          <p:nvSpPr>
            <p:cNvPr id="22" name="Rectángulo 6">
              <a:extLst>
                <a:ext uri="{FF2B5EF4-FFF2-40B4-BE49-F238E27FC236}">
                  <a16:creationId xmlns:a16="http://schemas.microsoft.com/office/drawing/2014/main" id="{D71BC356-ED41-B049-88E2-47DC0FA3C96B}"/>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23" name="Rectángulo 22">
              <a:extLst>
                <a:ext uri="{FF2B5EF4-FFF2-40B4-BE49-F238E27FC236}">
                  <a16:creationId xmlns:a16="http://schemas.microsoft.com/office/drawing/2014/main" id="{4A4DF583-F789-A147-928A-81BDEA644EAF}"/>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24" name="Rectángulo 23">
              <a:extLst>
                <a:ext uri="{FF2B5EF4-FFF2-40B4-BE49-F238E27FC236}">
                  <a16:creationId xmlns:a16="http://schemas.microsoft.com/office/drawing/2014/main" id="{BD340412-0579-1344-9B6D-DEF4DEE4960D}"/>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25" name="Rectángulo 24">
              <a:extLst>
                <a:ext uri="{FF2B5EF4-FFF2-40B4-BE49-F238E27FC236}">
                  <a16:creationId xmlns:a16="http://schemas.microsoft.com/office/drawing/2014/main" id="{44E55E4B-0109-E64B-A511-0CD7799B8CF6}"/>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grpSp>
    </p:spTree>
    <p:extLst>
      <p:ext uri="{BB962C8B-B14F-4D97-AF65-F5344CB8AC3E}">
        <p14:creationId xmlns:p14="http://schemas.microsoft.com/office/powerpoint/2010/main" val="13334542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dea principal. Morado">
    <p:bg>
      <p:bgRef idx="1001">
        <a:schemeClr val="bg2"/>
      </p:bgRef>
    </p:bg>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85888" name="Diapositiva de think-cell" r:id="rId5" imgW="270" imgH="270" progId="TCLayout.ActiveDocument.1">
                  <p:embed/>
                </p:oleObj>
              </mc:Choice>
              <mc:Fallback>
                <p:oleObj name="Diapositiva de think-cell" r:id="rId5" imgW="270" imgH="270" progId="TCLayout.ActiveDocument.1">
                  <p:embed/>
                  <p:pic>
                    <p:nvPicPr>
                      <p:cNvPr id="4" name="Objeto 3"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3" name="Rectángulo 2"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2665" b="0" i="0" u="none" strike="noStrike" kern="1200" cap="none" spc="0" normalizeH="0" baseline="0" noProof="0">
              <a:ln>
                <a:noFill/>
              </a:ln>
              <a:solidFill>
                <a:srgbClr val="FFFFFF"/>
              </a:solidFill>
              <a:effectLst/>
              <a:uLnTx/>
              <a:uFillTx/>
              <a:latin typeface="Playfair Display" panose="00000500000000000000"/>
              <a:ea typeface="+mn-ea"/>
              <a:cs typeface="+mn-cs"/>
              <a:sym typeface="Playfair Display" panose="00000500000000000000"/>
            </a:endParaRPr>
          </a:p>
        </p:txBody>
      </p:sp>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pic>
        <p:nvPicPr>
          <p:cNvPr id="19" name="Imagen 18">
            <a:extLst>
              <a:ext uri="{FF2B5EF4-FFF2-40B4-BE49-F238E27FC236}">
                <a16:creationId xmlns:a16="http://schemas.microsoft.com/office/drawing/2014/main" id="{A3612F95-8251-5349-ABFE-8A62EF3295EE}"/>
              </a:ext>
            </a:extLst>
          </p:cNvPr>
          <p:cNvPicPr>
            <a:picLocks noChangeAspect="1"/>
          </p:cNvPicPr>
          <p:nvPr userDrawn="1"/>
        </p:nvPicPr>
        <p:blipFill>
          <a:blip r:embed="rId7"/>
          <a:stretch>
            <a:fillRect/>
          </a:stretch>
        </p:blipFill>
        <p:spPr>
          <a:xfrm>
            <a:off x="336001" y="6505495"/>
            <a:ext cx="859201" cy="170476"/>
          </a:xfrm>
          <a:prstGeom prst="rect">
            <a:avLst/>
          </a:prstGeom>
        </p:spPr>
      </p:pic>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6" name="Imagen 15"/>
          <p:cNvPicPr>
            <a:picLocks noChangeAspect="1"/>
          </p:cNvPicPr>
          <p:nvPr userDrawn="1"/>
        </p:nvPicPr>
        <p:blipFill>
          <a:blip r:embed="rId8">
            <a:lum bright="100000" contrast="-70000"/>
          </a:blip>
          <a:stretch>
            <a:fillRect/>
          </a:stretch>
        </p:blipFill>
        <p:spPr>
          <a:xfrm>
            <a:off x="8887258" y="6540533"/>
            <a:ext cx="1145182" cy="248840"/>
          </a:xfrm>
          <a:prstGeom prst="rect">
            <a:avLst/>
          </a:prstGeom>
        </p:spPr>
      </p:pic>
    </p:spTree>
    <p:extLst>
      <p:ext uri="{BB962C8B-B14F-4D97-AF65-F5344CB8AC3E}">
        <p14:creationId xmlns:p14="http://schemas.microsoft.com/office/powerpoint/2010/main" val="2857857764"/>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Naranj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1136"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2665"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spTree>
    <p:extLst>
      <p:ext uri="{BB962C8B-B14F-4D97-AF65-F5344CB8AC3E}">
        <p14:creationId xmlns:p14="http://schemas.microsoft.com/office/powerpoint/2010/main" val="19171942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Naranj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86912"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2665"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spTree>
    <p:extLst>
      <p:ext uri="{BB962C8B-B14F-4D97-AF65-F5344CB8AC3E}">
        <p14:creationId xmlns:p14="http://schemas.microsoft.com/office/powerpoint/2010/main" val="30872125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marillo endoso">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87936" name="Diapositiva de think-cell" r:id="rId5" imgW="270" imgH="270" progId="TCLayout.ActiveDocument.1">
                  <p:embed/>
                </p:oleObj>
              </mc:Choice>
              <mc:Fallback>
                <p:oleObj name="Diapositiva de think-cell" r:id="rId5" imgW="270" imgH="270" progId="TCLayout.ActiveDocument.1">
                  <p:embed/>
                  <p:pic>
                    <p:nvPicPr>
                      <p:cNvPr id="11" name="Objeto 10"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10" name="Rectángulo 9"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2665"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5999" y="649095"/>
            <a:ext cx="11521567"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6" name="12 Marcador de texto"/>
          <p:cNvSpPr>
            <a:spLocks noGrp="1"/>
          </p:cNvSpPr>
          <p:nvPr>
            <p:ph type="body" sz="quarter" idx="13"/>
          </p:nvPr>
        </p:nvSpPr>
        <p:spPr>
          <a:xfrm>
            <a:off x="336001" y="357000"/>
            <a:ext cx="11521566"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15" name="Grupo 14"/>
          <p:cNvGrpSpPr/>
          <p:nvPr userDrawn="1"/>
        </p:nvGrpSpPr>
        <p:grpSpPr>
          <a:xfrm>
            <a:off x="10328936" y="6242390"/>
            <a:ext cx="1871531" cy="642611"/>
            <a:chOff x="8064500" y="4790414"/>
            <a:chExt cx="1083150" cy="371911"/>
          </a:xfrm>
        </p:grpSpPr>
        <p:sp>
          <p:nvSpPr>
            <p:cNvPr id="16" name="Forma libre 15">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7"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grpSp>
      <p:pic>
        <p:nvPicPr>
          <p:cNvPr id="18" name="Imagen 17"/>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9"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20"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spTree>
    <p:extLst>
      <p:ext uri="{BB962C8B-B14F-4D97-AF65-F5344CB8AC3E}">
        <p14:creationId xmlns:p14="http://schemas.microsoft.com/office/powerpoint/2010/main" val="26651496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marillo sin endoso">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88960" name="Diapositiva de think-cell" r:id="rId5" imgW="270" imgH="270" progId="TCLayout.ActiveDocument.1">
                  <p:embed/>
                </p:oleObj>
              </mc:Choice>
              <mc:Fallback>
                <p:oleObj name="Diapositiva de think-cell" r:id="rId5" imgW="270" imgH="270" progId="TCLayout.ActiveDocument.1">
                  <p:embed/>
                  <p:pic>
                    <p:nvPicPr>
                      <p:cNvPr id="11" name="Objeto 10"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10" name="Rectángulo 9"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2665"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5999" y="649095"/>
            <a:ext cx="11521567"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6" name="12 Marcador de texto"/>
          <p:cNvSpPr>
            <a:spLocks noGrp="1"/>
          </p:cNvSpPr>
          <p:nvPr>
            <p:ph type="body" sz="quarter" idx="13"/>
          </p:nvPr>
        </p:nvSpPr>
        <p:spPr>
          <a:xfrm>
            <a:off x="336001" y="357000"/>
            <a:ext cx="11521566"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15" name="Grupo 14"/>
          <p:cNvGrpSpPr/>
          <p:nvPr userDrawn="1"/>
        </p:nvGrpSpPr>
        <p:grpSpPr>
          <a:xfrm>
            <a:off x="10328936" y="6242390"/>
            <a:ext cx="1871531" cy="642611"/>
            <a:chOff x="8064500" y="4790414"/>
            <a:chExt cx="1083150" cy="371911"/>
          </a:xfrm>
        </p:grpSpPr>
        <p:sp>
          <p:nvSpPr>
            <p:cNvPr id="16" name="Forma libre 15">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7"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grpSp>
      <p:sp>
        <p:nvSpPr>
          <p:cNvPr id="20"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spTree>
    <p:extLst>
      <p:ext uri="{BB962C8B-B14F-4D97-AF65-F5344CB8AC3E}">
        <p14:creationId xmlns:p14="http://schemas.microsoft.com/office/powerpoint/2010/main" val="212765913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Ros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89984"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2665"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spTree>
    <p:extLst>
      <p:ext uri="{BB962C8B-B14F-4D97-AF65-F5344CB8AC3E}">
        <p14:creationId xmlns:p14="http://schemas.microsoft.com/office/powerpoint/2010/main" val="264553314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Ros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91008"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2665"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spTree>
    <p:extLst>
      <p:ext uri="{BB962C8B-B14F-4D97-AF65-F5344CB8AC3E}">
        <p14:creationId xmlns:p14="http://schemas.microsoft.com/office/powerpoint/2010/main" val="17942411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erde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92032"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2665"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spTree>
    <p:extLst>
      <p:ext uri="{BB962C8B-B14F-4D97-AF65-F5344CB8AC3E}">
        <p14:creationId xmlns:p14="http://schemas.microsoft.com/office/powerpoint/2010/main" val="32681800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erde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93056"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2665"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spTree>
    <p:extLst>
      <p:ext uri="{BB962C8B-B14F-4D97-AF65-F5344CB8AC3E}">
        <p14:creationId xmlns:p14="http://schemas.microsoft.com/office/powerpoint/2010/main" val="281052926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zul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94080"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2665"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userDrawn="1"/>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spTree>
    <p:extLst>
      <p:ext uri="{BB962C8B-B14F-4D97-AF65-F5344CB8AC3E}">
        <p14:creationId xmlns:p14="http://schemas.microsoft.com/office/powerpoint/2010/main" val="32752895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dice">
    <p:bg>
      <p:bgRef idx="1001">
        <a:schemeClr val="bg2"/>
      </p:bgRef>
    </p:bg>
    <p:spTree>
      <p:nvGrpSpPr>
        <p:cNvPr id="1" name=""/>
        <p:cNvGrpSpPr/>
        <p:nvPr/>
      </p:nvGrpSpPr>
      <p:grpSpPr>
        <a:xfrm>
          <a:off x="0" y="0"/>
          <a:ext cx="0" cy="0"/>
          <a:chOff x="0" y="0"/>
          <a:chExt cx="0" cy="0"/>
        </a:xfrm>
      </p:grpSpPr>
      <p:sp>
        <p:nvSpPr>
          <p:cNvPr id="7" name="Título 6"/>
          <p:cNvSpPr>
            <a:spLocks noGrp="1"/>
          </p:cNvSpPr>
          <p:nvPr>
            <p:ph type="title" hasCustomPrompt="1"/>
          </p:nvPr>
        </p:nvSpPr>
        <p:spPr>
          <a:xfrm>
            <a:off x="336000" y="645587"/>
            <a:ext cx="11017800" cy="863601"/>
          </a:xfrm>
          <a:prstGeom prst="rect">
            <a:avLst/>
          </a:prstGeom>
        </p:spPr>
        <p:txBody>
          <a:bodyPr lIns="0" tIns="0" rIns="0" bIns="0"/>
          <a:lstStyle>
            <a:lvl1pPr>
              <a:defRPr sz="2798"/>
            </a:lvl1pPr>
          </a:lstStyle>
          <a:p>
            <a:r>
              <a:rPr lang="es-ES"/>
              <a:t>Índice</a:t>
            </a:r>
          </a:p>
        </p:txBody>
      </p:sp>
      <p:sp>
        <p:nvSpPr>
          <p:cNvPr id="4" name="Forma libre 3">
            <a:extLst>
              <a:ext uri="{FF2B5EF4-FFF2-40B4-BE49-F238E27FC236}">
                <a16:creationId xmlns:a16="http://schemas.microsoft.com/office/drawing/2014/main" id="{F6C55DCE-A9B0-2243-80CD-2F30EC5EF5A4}"/>
              </a:ext>
            </a:extLst>
          </p:cNvPr>
          <p:cNvSpPr/>
          <p:nvPr userDrawn="1"/>
        </p:nvSpPr>
        <p:spPr>
          <a:xfrm>
            <a:off x="4328250" y="2232949"/>
            <a:ext cx="7939453" cy="4757592"/>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1004426 w 3575725"/>
              <a:gd name="connsiteY4" fmla="*/ 3134611 h 3139345"/>
              <a:gd name="connsiteX5" fmla="*/ 0 w 3575725"/>
              <a:gd name="connsiteY5" fmla="*/ 2126285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2606583 w 3575725"/>
              <a:gd name="connsiteY4" fmla="*/ 2141725 h 3139345"/>
              <a:gd name="connsiteX5" fmla="*/ 0 w 3575725"/>
              <a:gd name="connsiteY5" fmla="*/ 2126285 h 3139345"/>
              <a:gd name="connsiteX0" fmla="*/ 0 w 3575725"/>
              <a:gd name="connsiteY0" fmla="*/ 2126285 h 2142697"/>
              <a:gd name="connsiteX1" fmla="*/ 1945 w 3575725"/>
              <a:gd name="connsiteY1" fmla="*/ 1021080 h 2142697"/>
              <a:gd name="connsiteX2" fmla="*/ 3575725 w 3575725"/>
              <a:gd name="connsiteY2" fmla="*/ 0 h 2142697"/>
              <a:gd name="connsiteX3" fmla="*/ 3574752 w 3575725"/>
              <a:gd name="connsiteY3" fmla="*/ 2142697 h 2142697"/>
              <a:gd name="connsiteX4" fmla="*/ 2606583 w 3575725"/>
              <a:gd name="connsiteY4" fmla="*/ 2141725 h 2142697"/>
              <a:gd name="connsiteX5" fmla="*/ 0 w 3575725"/>
              <a:gd name="connsiteY5" fmla="*/ 2126285 h 214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5725" h="2142697">
                <a:moveTo>
                  <a:pt x="0" y="2126285"/>
                </a:moveTo>
                <a:cubicBezTo>
                  <a:pt x="3156" y="1423160"/>
                  <a:pt x="-1211" y="1724205"/>
                  <a:pt x="1945" y="1021080"/>
                </a:cubicBezTo>
                <a:lnTo>
                  <a:pt x="3575725" y="0"/>
                </a:lnTo>
                <a:cubicBezTo>
                  <a:pt x="3575401" y="714232"/>
                  <a:pt x="3575076" y="1428465"/>
                  <a:pt x="3574752" y="2142697"/>
                </a:cubicBezTo>
                <a:lnTo>
                  <a:pt x="2606583" y="2141725"/>
                </a:lnTo>
                <a:lnTo>
                  <a:pt x="0" y="2126285"/>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5" name="Forma libre 4">
            <a:extLst>
              <a:ext uri="{FF2B5EF4-FFF2-40B4-BE49-F238E27FC236}">
                <a16:creationId xmlns:a16="http://schemas.microsoft.com/office/drawing/2014/main" id="{00D88BD8-9E72-844D-A3E4-A145CC1FC878}"/>
              </a:ext>
            </a:extLst>
          </p:cNvPr>
          <p:cNvSpPr/>
          <p:nvPr userDrawn="1"/>
        </p:nvSpPr>
        <p:spPr>
          <a:xfrm>
            <a:off x="2796363" y="894269"/>
            <a:ext cx="7956155" cy="6096272"/>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2736231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448410 w 3583247"/>
              <a:gd name="connsiteY4" fmla="*/ 2740388 h 3139345"/>
              <a:gd name="connsiteX5" fmla="*/ 0 w 3583247"/>
              <a:gd name="connsiteY5" fmla="*/ 2736231 h 3139345"/>
              <a:gd name="connsiteX0" fmla="*/ 0 w 3583247"/>
              <a:gd name="connsiteY0" fmla="*/ 2736231 h 2740388"/>
              <a:gd name="connsiteX1" fmla="*/ 9467 w 3583247"/>
              <a:gd name="connsiteY1" fmla="*/ 1021080 h 2740388"/>
              <a:gd name="connsiteX2" fmla="*/ 3583247 w 3583247"/>
              <a:gd name="connsiteY2" fmla="*/ 0 h 2740388"/>
              <a:gd name="connsiteX3" fmla="*/ 3557394 w 3583247"/>
              <a:gd name="connsiteY3" fmla="*/ 2738082 h 2740388"/>
              <a:gd name="connsiteX4" fmla="*/ 1448410 w 3583247"/>
              <a:gd name="connsiteY4" fmla="*/ 2740388 h 2740388"/>
              <a:gd name="connsiteX5" fmla="*/ 0 w 3583247"/>
              <a:gd name="connsiteY5" fmla="*/ 2736231 h 2740388"/>
              <a:gd name="connsiteX0" fmla="*/ 0 w 3583247"/>
              <a:gd name="connsiteY0" fmla="*/ 2736231 h 2745604"/>
              <a:gd name="connsiteX1" fmla="*/ 9467 w 3583247"/>
              <a:gd name="connsiteY1" fmla="*/ 1021080 h 2745604"/>
              <a:gd name="connsiteX2" fmla="*/ 3583247 w 3583247"/>
              <a:gd name="connsiteY2" fmla="*/ 0 h 2745604"/>
              <a:gd name="connsiteX3" fmla="*/ 3579960 w 3583247"/>
              <a:gd name="connsiteY3" fmla="*/ 2745604 h 2745604"/>
              <a:gd name="connsiteX4" fmla="*/ 1448410 w 3583247"/>
              <a:gd name="connsiteY4" fmla="*/ 2740388 h 2745604"/>
              <a:gd name="connsiteX5" fmla="*/ 0 w 3583247"/>
              <a:gd name="connsiteY5" fmla="*/ 2736231 h 2745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2745604">
                <a:moveTo>
                  <a:pt x="0" y="2736231"/>
                </a:moveTo>
                <a:cubicBezTo>
                  <a:pt x="3156" y="2033106"/>
                  <a:pt x="6311" y="1724205"/>
                  <a:pt x="9467" y="1021080"/>
                </a:cubicBezTo>
                <a:lnTo>
                  <a:pt x="3583247" y="0"/>
                </a:lnTo>
                <a:cubicBezTo>
                  <a:pt x="3582151" y="915201"/>
                  <a:pt x="3581056" y="1830403"/>
                  <a:pt x="3579960" y="2745604"/>
                </a:cubicBezTo>
                <a:lnTo>
                  <a:pt x="1448410" y="2740388"/>
                </a:lnTo>
                <a:lnTo>
                  <a:pt x="0" y="2736231"/>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6" name="Forma libre 5">
            <a:extLst>
              <a:ext uri="{FF2B5EF4-FFF2-40B4-BE49-F238E27FC236}">
                <a16:creationId xmlns:a16="http://schemas.microsoft.com/office/drawing/2014/main" id="{95D2642E-B667-424F-952B-3431D2440BB5}"/>
              </a:ext>
            </a:extLst>
          </p:cNvPr>
          <p:cNvSpPr/>
          <p:nvPr userDrawn="1"/>
        </p:nvSpPr>
        <p:spPr>
          <a:xfrm>
            <a:off x="-92286" y="20016"/>
            <a:ext cx="8259460" cy="6970525"/>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3139345">
                <a:moveTo>
                  <a:pt x="0" y="3130454"/>
                </a:moveTo>
                <a:cubicBezTo>
                  <a:pt x="3156" y="2427329"/>
                  <a:pt x="6311" y="1724205"/>
                  <a:pt x="9467" y="1021080"/>
                </a:cubicBezTo>
                <a:lnTo>
                  <a:pt x="3583247" y="0"/>
                </a:lnTo>
                <a:lnTo>
                  <a:pt x="3578513" y="3139345"/>
                </a:lnTo>
                <a:lnTo>
                  <a:pt x="1011948" y="3134611"/>
                </a:lnTo>
                <a:lnTo>
                  <a:pt x="0" y="313045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9" name="Imagen 8"/>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3" name="Marcador de texto 2"/>
          <p:cNvSpPr>
            <a:spLocks noGrp="1"/>
          </p:cNvSpPr>
          <p:nvPr>
            <p:ph type="body" sz="quarter" idx="10" hasCustomPrompt="1"/>
          </p:nvPr>
        </p:nvSpPr>
        <p:spPr>
          <a:xfrm>
            <a:off x="336000" y="2444755"/>
            <a:ext cx="5760000" cy="3577167"/>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Capítulo</a:t>
            </a:r>
          </a:p>
          <a:p>
            <a:pPr lvl="0"/>
            <a:endParaRPr lang="es-ES"/>
          </a:p>
          <a:p>
            <a:pPr lvl="0"/>
            <a:endParaRPr lang="es-ES"/>
          </a:p>
        </p:txBody>
      </p:sp>
      <p:sp>
        <p:nvSpPr>
          <p:cNvPr id="10"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Tree>
    <p:extLst>
      <p:ext uri="{BB962C8B-B14F-4D97-AF65-F5344CB8AC3E}">
        <p14:creationId xmlns:p14="http://schemas.microsoft.com/office/powerpoint/2010/main" val="2622810880"/>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zul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95104"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2665"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userDrawn="1"/>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spTree>
    <p:extLst>
      <p:ext uri="{BB962C8B-B14F-4D97-AF65-F5344CB8AC3E}">
        <p14:creationId xmlns:p14="http://schemas.microsoft.com/office/powerpoint/2010/main" val="1341400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il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96128"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2665"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userDrawn="1"/>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spTree>
    <p:extLst>
      <p:ext uri="{BB962C8B-B14F-4D97-AF65-F5344CB8AC3E}">
        <p14:creationId xmlns:p14="http://schemas.microsoft.com/office/powerpoint/2010/main" val="100423489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il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97152"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2665"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userDrawn="1"/>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spTree>
    <p:extLst>
      <p:ext uri="{BB962C8B-B14F-4D97-AF65-F5344CB8AC3E}">
        <p14:creationId xmlns:p14="http://schemas.microsoft.com/office/powerpoint/2010/main" val="88664433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Portada blanca">
    <p:spTree>
      <p:nvGrpSpPr>
        <p:cNvPr id="1" name=""/>
        <p:cNvGrpSpPr/>
        <p:nvPr/>
      </p:nvGrpSpPr>
      <p:grpSpPr>
        <a:xfrm>
          <a:off x="0" y="0"/>
          <a:ext cx="0" cy="0"/>
          <a:chOff x="0" y="0"/>
          <a:chExt cx="0" cy="0"/>
        </a:xfrm>
      </p:grpSpPr>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4" y="4414944"/>
            <a:ext cx="5651500" cy="290408"/>
          </a:xfrm>
          <a:prstGeom prst="rect">
            <a:avLst/>
          </a:prstGeom>
        </p:spPr>
        <p:txBody>
          <a:bodyPr lIns="0" tIns="0" rIns="0" bIns="0"/>
          <a:lstStyle>
            <a:lvl1pPr marL="0" indent="0">
              <a:buNone/>
              <a:defRPr sz="1800"/>
            </a:lvl1pPr>
          </a:lstStyle>
          <a:p>
            <a:r>
              <a:rPr lang="es-ES"/>
              <a:t>Editar el subtitulo de la presentación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2" y="2428697"/>
            <a:ext cx="6310745" cy="1648341"/>
          </a:xfrm>
          <a:prstGeom prst="rect">
            <a:avLst/>
          </a:prstGeom>
        </p:spPr>
        <p:txBody>
          <a:bodyPr vert="horz" lIns="0" tIns="0" rIns="0" bIns="0" rtlCol="0" anchor="t">
            <a:noAutofit/>
          </a:bodyPr>
          <a:lstStyle>
            <a:lvl1pPr>
              <a:defRPr sz="4400"/>
            </a:lvl1pPr>
          </a:lstStyle>
          <a:p>
            <a:r>
              <a:rPr lang="es-ES"/>
              <a:t>Haga clic para </a:t>
            </a:r>
            <a:br>
              <a:rPr lang="es-ES"/>
            </a:br>
            <a:r>
              <a:rPr lang="es-ES"/>
              <a:t>el título principal</a:t>
            </a:r>
            <a:endParaRPr lang="en-US"/>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336004" y="4853097"/>
            <a:ext cx="5651500" cy="199445"/>
          </a:xfrm>
          <a:prstGeom prst="rect">
            <a:avLst/>
          </a:prstGeom>
        </p:spPr>
        <p:txBody>
          <a:bodyPr lIns="0" tIns="0" rIns="0" bIns="0"/>
          <a:lstStyle>
            <a:lvl1pPr marL="0" indent="0">
              <a:buNone/>
              <a:defRPr sz="1600"/>
            </a:lvl1pPr>
          </a:lstStyle>
          <a:p>
            <a:r>
              <a:rPr lang="es-ES"/>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336000" y="986371"/>
            <a:ext cx="1799167" cy="639233"/>
          </a:xfrm>
          <a:prstGeom prst="rect">
            <a:avLst/>
          </a:prstGeom>
        </p:spPr>
        <p:txBody>
          <a:bodyPr anchor="ctr"/>
          <a:lstStyle>
            <a:lvl1pPr marL="0" indent="0" algn="ctr">
              <a:buNone/>
              <a:defRPr sz="1333"/>
            </a:lvl1pPr>
          </a:lstStyle>
          <a:p>
            <a:r>
              <a:rPr lang="es-ES"/>
              <a:t>Logo cliente</a:t>
            </a:r>
          </a:p>
        </p:txBody>
      </p:sp>
      <p:pic>
        <p:nvPicPr>
          <p:cNvPr id="7" name="Imagen 6">
            <a:extLst>
              <a:ext uri="{FF2B5EF4-FFF2-40B4-BE49-F238E27FC236}">
                <a16:creationId xmlns:a16="http://schemas.microsoft.com/office/drawing/2014/main" id="{DB9B7611-A75B-714A-9D2A-408948DB3B58}"/>
              </a:ext>
            </a:extLst>
          </p:cNvPr>
          <p:cNvPicPr>
            <a:picLocks noChangeAspect="1"/>
          </p:cNvPicPr>
          <p:nvPr userDrawn="1"/>
        </p:nvPicPr>
        <p:blipFill>
          <a:blip r:embed="rId2"/>
          <a:stretch>
            <a:fillRect/>
          </a:stretch>
        </p:blipFill>
        <p:spPr>
          <a:xfrm>
            <a:off x="8085668" y="6337302"/>
            <a:ext cx="1444604" cy="176283"/>
          </a:xfrm>
          <a:prstGeom prst="rect">
            <a:avLst/>
          </a:prstGeom>
        </p:spPr>
      </p:pic>
      <p:pic>
        <p:nvPicPr>
          <p:cNvPr id="9" name="Imagen 8">
            <a:extLst>
              <a:ext uri="{FF2B5EF4-FFF2-40B4-BE49-F238E27FC236}">
                <a16:creationId xmlns:a16="http://schemas.microsoft.com/office/drawing/2014/main" id="{57AA245C-134F-EB49-90BA-678E5983EABD}"/>
              </a:ext>
            </a:extLst>
          </p:cNvPr>
          <p:cNvPicPr>
            <a:picLocks noChangeAspect="1"/>
          </p:cNvPicPr>
          <p:nvPr userDrawn="1"/>
        </p:nvPicPr>
        <p:blipFill>
          <a:blip r:embed="rId3"/>
          <a:stretch>
            <a:fillRect/>
          </a:stretch>
        </p:blipFill>
        <p:spPr>
          <a:xfrm>
            <a:off x="385014" y="6118996"/>
            <a:ext cx="1795156" cy="356183"/>
          </a:xfrm>
          <a:prstGeom prst="rect">
            <a:avLst/>
          </a:prstGeom>
        </p:spPr>
      </p:pic>
      <p:grpSp>
        <p:nvGrpSpPr>
          <p:cNvPr id="11" name="Grupo 10">
            <a:extLst>
              <a:ext uri="{FF2B5EF4-FFF2-40B4-BE49-F238E27FC236}">
                <a16:creationId xmlns:a16="http://schemas.microsoft.com/office/drawing/2014/main" id="{72D46510-3BCB-3746-AD05-84A58DE8C86D}"/>
              </a:ext>
            </a:extLst>
          </p:cNvPr>
          <p:cNvGrpSpPr/>
          <p:nvPr userDrawn="1"/>
        </p:nvGrpSpPr>
        <p:grpSpPr>
          <a:xfrm>
            <a:off x="6846376" y="1346032"/>
            <a:ext cx="2093250" cy="3698006"/>
            <a:chOff x="4700634" y="1022350"/>
            <a:chExt cx="1569938" cy="2774950"/>
          </a:xfrm>
          <a:solidFill>
            <a:schemeClr val="accent2"/>
          </a:solidFill>
        </p:grpSpPr>
        <p:sp>
          <p:nvSpPr>
            <p:cNvPr id="12" name="Rectángulo 6">
              <a:extLst>
                <a:ext uri="{FF2B5EF4-FFF2-40B4-BE49-F238E27FC236}">
                  <a16:creationId xmlns:a16="http://schemas.microsoft.com/office/drawing/2014/main" id="{7B3603A7-D7F6-D447-AC7E-DCEDD18B5644}"/>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3" name="Rectángulo 12">
              <a:extLst>
                <a:ext uri="{FF2B5EF4-FFF2-40B4-BE49-F238E27FC236}">
                  <a16:creationId xmlns:a16="http://schemas.microsoft.com/office/drawing/2014/main" id="{DEF7F3DA-3318-B54A-A86E-1C0912576A14}"/>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4" name="Rectángulo 13">
              <a:extLst>
                <a:ext uri="{FF2B5EF4-FFF2-40B4-BE49-F238E27FC236}">
                  <a16:creationId xmlns:a16="http://schemas.microsoft.com/office/drawing/2014/main" id="{AF95EF0D-64BD-8C41-9271-7C7E67BA1752}"/>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5" name="Rectángulo 14">
              <a:extLst>
                <a:ext uri="{FF2B5EF4-FFF2-40B4-BE49-F238E27FC236}">
                  <a16:creationId xmlns:a16="http://schemas.microsoft.com/office/drawing/2014/main" id="{7C54F4E3-09F1-DA4F-AC1E-D94DC533F11F}"/>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grpSp>
        <p:nvGrpSpPr>
          <p:cNvPr id="16" name="Grupo 15">
            <a:extLst>
              <a:ext uri="{FF2B5EF4-FFF2-40B4-BE49-F238E27FC236}">
                <a16:creationId xmlns:a16="http://schemas.microsoft.com/office/drawing/2014/main" id="{EB2B45F2-8D32-A344-93BE-979FC74FCFB7}"/>
              </a:ext>
            </a:extLst>
          </p:cNvPr>
          <p:cNvGrpSpPr/>
          <p:nvPr userDrawn="1"/>
        </p:nvGrpSpPr>
        <p:grpSpPr>
          <a:xfrm>
            <a:off x="8154785" y="1346032"/>
            <a:ext cx="2093250" cy="3698006"/>
            <a:chOff x="4700634" y="1022350"/>
            <a:chExt cx="1569938" cy="2774950"/>
          </a:xfrm>
          <a:solidFill>
            <a:schemeClr val="tx2"/>
          </a:solidFill>
        </p:grpSpPr>
        <p:sp>
          <p:nvSpPr>
            <p:cNvPr id="17" name="Rectángulo 6">
              <a:extLst>
                <a:ext uri="{FF2B5EF4-FFF2-40B4-BE49-F238E27FC236}">
                  <a16:creationId xmlns:a16="http://schemas.microsoft.com/office/drawing/2014/main" id="{B5C53D1D-2BE8-DC4D-9686-EE7D25277B36}"/>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8" name="Rectángulo 17">
              <a:extLst>
                <a:ext uri="{FF2B5EF4-FFF2-40B4-BE49-F238E27FC236}">
                  <a16:creationId xmlns:a16="http://schemas.microsoft.com/office/drawing/2014/main" id="{F900BB0B-5327-5945-98EC-D80CC934A2A3}"/>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9" name="Rectángulo 18">
              <a:extLst>
                <a:ext uri="{FF2B5EF4-FFF2-40B4-BE49-F238E27FC236}">
                  <a16:creationId xmlns:a16="http://schemas.microsoft.com/office/drawing/2014/main" id="{B1DD8B18-64B5-4948-BB66-287B0484AF59}"/>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20" name="Rectángulo 19">
              <a:extLst>
                <a:ext uri="{FF2B5EF4-FFF2-40B4-BE49-F238E27FC236}">
                  <a16:creationId xmlns:a16="http://schemas.microsoft.com/office/drawing/2014/main" id="{D12A53A6-630E-7B4D-A7A5-8AA797881B4E}"/>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grpSp>
        <p:nvGrpSpPr>
          <p:cNvPr id="21" name="Grupo 20">
            <a:extLst>
              <a:ext uri="{FF2B5EF4-FFF2-40B4-BE49-F238E27FC236}">
                <a16:creationId xmlns:a16="http://schemas.microsoft.com/office/drawing/2014/main" id="{C733D58C-D2A1-9040-B07D-82C6EAEF6E32}"/>
              </a:ext>
            </a:extLst>
          </p:cNvPr>
          <p:cNvGrpSpPr/>
          <p:nvPr userDrawn="1"/>
        </p:nvGrpSpPr>
        <p:grpSpPr>
          <a:xfrm>
            <a:off x="9463196" y="1346032"/>
            <a:ext cx="2093250" cy="3698006"/>
            <a:chOff x="4700634" y="1022350"/>
            <a:chExt cx="1569938" cy="2774950"/>
          </a:xfrm>
          <a:solidFill>
            <a:schemeClr val="accent5"/>
          </a:solidFill>
        </p:grpSpPr>
        <p:sp>
          <p:nvSpPr>
            <p:cNvPr id="22" name="Rectángulo 6">
              <a:extLst>
                <a:ext uri="{FF2B5EF4-FFF2-40B4-BE49-F238E27FC236}">
                  <a16:creationId xmlns:a16="http://schemas.microsoft.com/office/drawing/2014/main" id="{D71BC356-ED41-B049-88E2-47DC0FA3C96B}"/>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23" name="Rectángulo 22">
              <a:extLst>
                <a:ext uri="{FF2B5EF4-FFF2-40B4-BE49-F238E27FC236}">
                  <a16:creationId xmlns:a16="http://schemas.microsoft.com/office/drawing/2014/main" id="{4A4DF583-F789-A147-928A-81BDEA644EAF}"/>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24" name="Rectángulo 23">
              <a:extLst>
                <a:ext uri="{FF2B5EF4-FFF2-40B4-BE49-F238E27FC236}">
                  <a16:creationId xmlns:a16="http://schemas.microsoft.com/office/drawing/2014/main" id="{BD340412-0579-1344-9B6D-DEF4DEE4960D}"/>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25" name="Rectángulo 24">
              <a:extLst>
                <a:ext uri="{FF2B5EF4-FFF2-40B4-BE49-F238E27FC236}">
                  <a16:creationId xmlns:a16="http://schemas.microsoft.com/office/drawing/2014/main" id="{44E55E4B-0109-E64B-A511-0CD7799B8CF6}"/>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Tree>
    <p:extLst>
      <p:ext uri="{BB962C8B-B14F-4D97-AF65-F5344CB8AC3E}">
        <p14:creationId xmlns:p14="http://schemas.microsoft.com/office/powerpoint/2010/main" val="16765362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ndice">
    <p:bg>
      <p:bgRef idx="1001">
        <a:schemeClr val="bg2"/>
      </p:bgRef>
    </p:bg>
    <p:spTree>
      <p:nvGrpSpPr>
        <p:cNvPr id="1" name=""/>
        <p:cNvGrpSpPr/>
        <p:nvPr/>
      </p:nvGrpSpPr>
      <p:grpSpPr>
        <a:xfrm>
          <a:off x="0" y="0"/>
          <a:ext cx="0" cy="0"/>
          <a:chOff x="0" y="0"/>
          <a:chExt cx="0" cy="0"/>
        </a:xfrm>
      </p:grpSpPr>
      <p:sp>
        <p:nvSpPr>
          <p:cNvPr id="7" name="Título 6"/>
          <p:cNvSpPr>
            <a:spLocks noGrp="1"/>
          </p:cNvSpPr>
          <p:nvPr>
            <p:ph type="title" hasCustomPrompt="1"/>
          </p:nvPr>
        </p:nvSpPr>
        <p:spPr>
          <a:xfrm>
            <a:off x="336000" y="645587"/>
            <a:ext cx="11017800" cy="863601"/>
          </a:xfrm>
          <a:prstGeom prst="rect">
            <a:avLst/>
          </a:prstGeom>
        </p:spPr>
        <p:txBody>
          <a:bodyPr lIns="0" tIns="0" rIns="0" bIns="0"/>
          <a:lstStyle>
            <a:lvl1pPr>
              <a:defRPr sz="2798"/>
            </a:lvl1pPr>
          </a:lstStyle>
          <a:p>
            <a:r>
              <a:rPr lang="es-ES"/>
              <a:t>Índice</a:t>
            </a:r>
          </a:p>
        </p:txBody>
      </p:sp>
      <p:sp>
        <p:nvSpPr>
          <p:cNvPr id="4" name="Forma libre 3">
            <a:extLst>
              <a:ext uri="{FF2B5EF4-FFF2-40B4-BE49-F238E27FC236}">
                <a16:creationId xmlns:a16="http://schemas.microsoft.com/office/drawing/2014/main" id="{F6C55DCE-A9B0-2243-80CD-2F30EC5EF5A4}"/>
              </a:ext>
            </a:extLst>
          </p:cNvPr>
          <p:cNvSpPr/>
          <p:nvPr userDrawn="1"/>
        </p:nvSpPr>
        <p:spPr>
          <a:xfrm>
            <a:off x="4328250" y="2232949"/>
            <a:ext cx="7939453" cy="4757592"/>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1004426 w 3575725"/>
              <a:gd name="connsiteY4" fmla="*/ 3134611 h 3139345"/>
              <a:gd name="connsiteX5" fmla="*/ 0 w 3575725"/>
              <a:gd name="connsiteY5" fmla="*/ 2126285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2606583 w 3575725"/>
              <a:gd name="connsiteY4" fmla="*/ 2141725 h 3139345"/>
              <a:gd name="connsiteX5" fmla="*/ 0 w 3575725"/>
              <a:gd name="connsiteY5" fmla="*/ 2126285 h 3139345"/>
              <a:gd name="connsiteX0" fmla="*/ 0 w 3575725"/>
              <a:gd name="connsiteY0" fmla="*/ 2126285 h 2142697"/>
              <a:gd name="connsiteX1" fmla="*/ 1945 w 3575725"/>
              <a:gd name="connsiteY1" fmla="*/ 1021080 h 2142697"/>
              <a:gd name="connsiteX2" fmla="*/ 3575725 w 3575725"/>
              <a:gd name="connsiteY2" fmla="*/ 0 h 2142697"/>
              <a:gd name="connsiteX3" fmla="*/ 3574752 w 3575725"/>
              <a:gd name="connsiteY3" fmla="*/ 2142697 h 2142697"/>
              <a:gd name="connsiteX4" fmla="*/ 2606583 w 3575725"/>
              <a:gd name="connsiteY4" fmla="*/ 2141725 h 2142697"/>
              <a:gd name="connsiteX5" fmla="*/ 0 w 3575725"/>
              <a:gd name="connsiteY5" fmla="*/ 2126285 h 214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5725" h="2142697">
                <a:moveTo>
                  <a:pt x="0" y="2126285"/>
                </a:moveTo>
                <a:cubicBezTo>
                  <a:pt x="3156" y="1423160"/>
                  <a:pt x="-1211" y="1724205"/>
                  <a:pt x="1945" y="1021080"/>
                </a:cubicBezTo>
                <a:lnTo>
                  <a:pt x="3575725" y="0"/>
                </a:lnTo>
                <a:cubicBezTo>
                  <a:pt x="3575401" y="714232"/>
                  <a:pt x="3575076" y="1428465"/>
                  <a:pt x="3574752" y="2142697"/>
                </a:cubicBezTo>
                <a:lnTo>
                  <a:pt x="2606583" y="2141725"/>
                </a:lnTo>
                <a:lnTo>
                  <a:pt x="0" y="2126285"/>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5" name="Forma libre 4">
            <a:extLst>
              <a:ext uri="{FF2B5EF4-FFF2-40B4-BE49-F238E27FC236}">
                <a16:creationId xmlns:a16="http://schemas.microsoft.com/office/drawing/2014/main" id="{00D88BD8-9E72-844D-A3E4-A145CC1FC878}"/>
              </a:ext>
            </a:extLst>
          </p:cNvPr>
          <p:cNvSpPr/>
          <p:nvPr userDrawn="1"/>
        </p:nvSpPr>
        <p:spPr>
          <a:xfrm>
            <a:off x="2796363" y="894269"/>
            <a:ext cx="7956155" cy="6096272"/>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2736231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448410 w 3583247"/>
              <a:gd name="connsiteY4" fmla="*/ 2740388 h 3139345"/>
              <a:gd name="connsiteX5" fmla="*/ 0 w 3583247"/>
              <a:gd name="connsiteY5" fmla="*/ 2736231 h 3139345"/>
              <a:gd name="connsiteX0" fmla="*/ 0 w 3583247"/>
              <a:gd name="connsiteY0" fmla="*/ 2736231 h 2740388"/>
              <a:gd name="connsiteX1" fmla="*/ 9467 w 3583247"/>
              <a:gd name="connsiteY1" fmla="*/ 1021080 h 2740388"/>
              <a:gd name="connsiteX2" fmla="*/ 3583247 w 3583247"/>
              <a:gd name="connsiteY2" fmla="*/ 0 h 2740388"/>
              <a:gd name="connsiteX3" fmla="*/ 3557394 w 3583247"/>
              <a:gd name="connsiteY3" fmla="*/ 2738082 h 2740388"/>
              <a:gd name="connsiteX4" fmla="*/ 1448410 w 3583247"/>
              <a:gd name="connsiteY4" fmla="*/ 2740388 h 2740388"/>
              <a:gd name="connsiteX5" fmla="*/ 0 w 3583247"/>
              <a:gd name="connsiteY5" fmla="*/ 2736231 h 2740388"/>
              <a:gd name="connsiteX0" fmla="*/ 0 w 3583247"/>
              <a:gd name="connsiteY0" fmla="*/ 2736231 h 2745604"/>
              <a:gd name="connsiteX1" fmla="*/ 9467 w 3583247"/>
              <a:gd name="connsiteY1" fmla="*/ 1021080 h 2745604"/>
              <a:gd name="connsiteX2" fmla="*/ 3583247 w 3583247"/>
              <a:gd name="connsiteY2" fmla="*/ 0 h 2745604"/>
              <a:gd name="connsiteX3" fmla="*/ 3579960 w 3583247"/>
              <a:gd name="connsiteY3" fmla="*/ 2745604 h 2745604"/>
              <a:gd name="connsiteX4" fmla="*/ 1448410 w 3583247"/>
              <a:gd name="connsiteY4" fmla="*/ 2740388 h 2745604"/>
              <a:gd name="connsiteX5" fmla="*/ 0 w 3583247"/>
              <a:gd name="connsiteY5" fmla="*/ 2736231 h 2745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2745604">
                <a:moveTo>
                  <a:pt x="0" y="2736231"/>
                </a:moveTo>
                <a:cubicBezTo>
                  <a:pt x="3156" y="2033106"/>
                  <a:pt x="6311" y="1724205"/>
                  <a:pt x="9467" y="1021080"/>
                </a:cubicBezTo>
                <a:lnTo>
                  <a:pt x="3583247" y="0"/>
                </a:lnTo>
                <a:cubicBezTo>
                  <a:pt x="3582151" y="915201"/>
                  <a:pt x="3581056" y="1830403"/>
                  <a:pt x="3579960" y="2745604"/>
                </a:cubicBezTo>
                <a:lnTo>
                  <a:pt x="1448410" y="2740388"/>
                </a:lnTo>
                <a:lnTo>
                  <a:pt x="0" y="2736231"/>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6" name="Forma libre 5">
            <a:extLst>
              <a:ext uri="{FF2B5EF4-FFF2-40B4-BE49-F238E27FC236}">
                <a16:creationId xmlns:a16="http://schemas.microsoft.com/office/drawing/2014/main" id="{95D2642E-B667-424F-952B-3431D2440BB5}"/>
              </a:ext>
            </a:extLst>
          </p:cNvPr>
          <p:cNvSpPr/>
          <p:nvPr userDrawn="1"/>
        </p:nvSpPr>
        <p:spPr>
          <a:xfrm>
            <a:off x="-92286" y="20016"/>
            <a:ext cx="8259460" cy="6970525"/>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3139345">
                <a:moveTo>
                  <a:pt x="0" y="3130454"/>
                </a:moveTo>
                <a:cubicBezTo>
                  <a:pt x="3156" y="2427329"/>
                  <a:pt x="6311" y="1724205"/>
                  <a:pt x="9467" y="1021080"/>
                </a:cubicBezTo>
                <a:lnTo>
                  <a:pt x="3583247" y="0"/>
                </a:lnTo>
                <a:lnTo>
                  <a:pt x="3578513" y="3139345"/>
                </a:lnTo>
                <a:lnTo>
                  <a:pt x="1011948" y="3134611"/>
                </a:lnTo>
                <a:lnTo>
                  <a:pt x="0" y="313045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a:t>
            </a:fld>
            <a:endParaRPr lang="es-ES" sz="1066">
              <a:solidFill>
                <a:schemeClr val="bg1"/>
              </a:solidFill>
            </a:endParaRPr>
          </a:p>
        </p:txBody>
      </p:sp>
      <p:pic>
        <p:nvPicPr>
          <p:cNvPr id="9" name="Imagen 8"/>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3" name="Marcador de texto 2"/>
          <p:cNvSpPr>
            <a:spLocks noGrp="1"/>
          </p:cNvSpPr>
          <p:nvPr>
            <p:ph type="body" sz="quarter" idx="10" hasCustomPrompt="1"/>
          </p:nvPr>
        </p:nvSpPr>
        <p:spPr>
          <a:xfrm>
            <a:off x="336000" y="2444755"/>
            <a:ext cx="5760000" cy="3577167"/>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Capítulo</a:t>
            </a:r>
          </a:p>
          <a:p>
            <a:pPr lvl="0"/>
            <a:endParaRPr lang="es-ES"/>
          </a:p>
          <a:p>
            <a:pPr lvl="0"/>
            <a:endParaRPr lang="es-ES"/>
          </a:p>
        </p:txBody>
      </p:sp>
      <p:sp>
        <p:nvSpPr>
          <p:cNvPr id="10"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Tree>
    <p:extLst>
      <p:ext uri="{BB962C8B-B14F-4D97-AF65-F5344CB8AC3E}">
        <p14:creationId xmlns:p14="http://schemas.microsoft.com/office/powerpoint/2010/main" val="2875111320"/>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ierre">
    <p:bg>
      <p:bgPr>
        <a:solidFill>
          <a:schemeClr val="bg2"/>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404837" y="712437"/>
            <a:ext cx="7553833" cy="714581"/>
          </a:xfrm>
          <a:prstGeom prst="rect">
            <a:avLst/>
          </a:prstGeom>
        </p:spPr>
        <p:txBody>
          <a:bodyPr vert="horz" lIns="0" tIns="0" rIns="0" bIns="0" rtlCol="0" anchor="t">
            <a:noAutofit/>
          </a:bodyPr>
          <a:lstStyle>
            <a:lvl1pPr>
              <a:defRPr sz="5330" b="0" i="0">
                <a:solidFill>
                  <a:schemeClr val="tx1"/>
                </a:solidFill>
                <a:latin typeface="Playfair Display" pitchFamily="2" charset="77"/>
              </a:defRPr>
            </a:lvl1pPr>
          </a:lstStyle>
          <a:p>
            <a:r>
              <a:rPr lang="es-ES"/>
              <a:t>Gracias!</a:t>
            </a:r>
            <a:endParaRPr lang="en-US"/>
          </a:p>
        </p:txBody>
      </p:sp>
      <p:sp>
        <p:nvSpPr>
          <p:cNvPr id="3" name="Rectángulo 3">
            <a:extLst>
              <a:ext uri="{FF2B5EF4-FFF2-40B4-BE49-F238E27FC236}">
                <a16:creationId xmlns:a16="http://schemas.microsoft.com/office/drawing/2014/main" id="{A1E39811-A34B-AD46-8ACC-A06DB4D267D0}"/>
              </a:ext>
            </a:extLst>
          </p:cNvPr>
          <p:cNvSpPr/>
          <p:nvPr userDrawn="1"/>
        </p:nvSpPr>
        <p:spPr>
          <a:xfrm>
            <a:off x="7744691" y="3699164"/>
            <a:ext cx="2575779" cy="3810000"/>
          </a:xfrm>
          <a:custGeom>
            <a:avLst/>
            <a:gdLst>
              <a:gd name="connsiteX0" fmla="*/ 0 w 1569027"/>
              <a:gd name="connsiteY0" fmla="*/ 0 h 2857500"/>
              <a:gd name="connsiteX1" fmla="*/ 1569027 w 1569027"/>
              <a:gd name="connsiteY1" fmla="*/ 0 h 2857500"/>
              <a:gd name="connsiteX2" fmla="*/ 1569027 w 1569027"/>
              <a:gd name="connsiteY2" fmla="*/ 2857500 h 2857500"/>
              <a:gd name="connsiteX3" fmla="*/ 0 w 1569027"/>
              <a:gd name="connsiteY3" fmla="*/ 2857500 h 2857500"/>
              <a:gd name="connsiteX4" fmla="*/ 0 w 1569027"/>
              <a:gd name="connsiteY4" fmla="*/ 0 h 2857500"/>
              <a:gd name="connsiteX0" fmla="*/ 0 w 1569027"/>
              <a:gd name="connsiteY0" fmla="*/ 0 h 2857500"/>
              <a:gd name="connsiteX1" fmla="*/ 1558636 w 1569027"/>
              <a:gd name="connsiteY1" fmla="*/ 467591 h 2857500"/>
              <a:gd name="connsiteX2" fmla="*/ 1569027 w 1569027"/>
              <a:gd name="connsiteY2" fmla="*/ 2857500 h 2857500"/>
              <a:gd name="connsiteX3" fmla="*/ 0 w 1569027"/>
              <a:gd name="connsiteY3" fmla="*/ 2857500 h 2857500"/>
              <a:gd name="connsiteX4" fmla="*/ 0 w 1569027"/>
              <a:gd name="connsiteY4" fmla="*/ 0 h 2857500"/>
              <a:gd name="connsiteX0" fmla="*/ 0 w 1610767"/>
              <a:gd name="connsiteY0" fmla="*/ 0 h 2857500"/>
              <a:gd name="connsiteX1" fmla="*/ 1610590 w 1610767"/>
              <a:gd name="connsiteY1" fmla="*/ 477982 h 2857500"/>
              <a:gd name="connsiteX2" fmla="*/ 1569027 w 1610767"/>
              <a:gd name="connsiteY2" fmla="*/ 2857500 h 2857500"/>
              <a:gd name="connsiteX3" fmla="*/ 0 w 1610767"/>
              <a:gd name="connsiteY3" fmla="*/ 2857500 h 2857500"/>
              <a:gd name="connsiteX4" fmla="*/ 0 w 1610767"/>
              <a:gd name="connsiteY4" fmla="*/ 0 h 285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767" h="2857500">
                <a:moveTo>
                  <a:pt x="0" y="0"/>
                </a:moveTo>
                <a:lnTo>
                  <a:pt x="1610590" y="477982"/>
                </a:lnTo>
                <a:cubicBezTo>
                  <a:pt x="1614054" y="1274618"/>
                  <a:pt x="1565563" y="2060864"/>
                  <a:pt x="1569027" y="2857500"/>
                </a:cubicBezTo>
                <a:lnTo>
                  <a:pt x="0" y="285750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4" name="Rectángulo 4">
            <a:extLst>
              <a:ext uri="{FF2B5EF4-FFF2-40B4-BE49-F238E27FC236}">
                <a16:creationId xmlns:a16="http://schemas.microsoft.com/office/drawing/2014/main" id="{A3F9223B-685F-2843-9227-57F23C3FCEB4}"/>
              </a:ext>
            </a:extLst>
          </p:cNvPr>
          <p:cNvSpPr/>
          <p:nvPr userDrawn="1"/>
        </p:nvSpPr>
        <p:spPr>
          <a:xfrm>
            <a:off x="10128451" y="2715495"/>
            <a:ext cx="1010606" cy="4793673"/>
          </a:xfrm>
          <a:custGeom>
            <a:avLst/>
            <a:gdLst>
              <a:gd name="connsiteX0" fmla="*/ 0 w 985405"/>
              <a:gd name="connsiteY0" fmla="*/ 0 h 3595255"/>
              <a:gd name="connsiteX1" fmla="*/ 985405 w 985405"/>
              <a:gd name="connsiteY1" fmla="*/ 0 h 3595255"/>
              <a:gd name="connsiteX2" fmla="*/ 985405 w 985405"/>
              <a:gd name="connsiteY2" fmla="*/ 3595255 h 3595255"/>
              <a:gd name="connsiteX3" fmla="*/ 0 w 985405"/>
              <a:gd name="connsiteY3" fmla="*/ 3595255 h 3595255"/>
              <a:gd name="connsiteX4" fmla="*/ 0 w 985405"/>
              <a:gd name="connsiteY4" fmla="*/ 0 h 3595255"/>
              <a:gd name="connsiteX0" fmla="*/ 0 w 985405"/>
              <a:gd name="connsiteY0" fmla="*/ 0 h 3595255"/>
              <a:gd name="connsiteX1" fmla="*/ 985405 w 985405"/>
              <a:gd name="connsiteY1" fmla="*/ 259773 h 3595255"/>
              <a:gd name="connsiteX2" fmla="*/ 985405 w 985405"/>
              <a:gd name="connsiteY2" fmla="*/ 3595255 h 3595255"/>
              <a:gd name="connsiteX3" fmla="*/ 0 w 985405"/>
              <a:gd name="connsiteY3" fmla="*/ 3595255 h 3595255"/>
              <a:gd name="connsiteX4" fmla="*/ 0 w 985405"/>
              <a:gd name="connsiteY4" fmla="*/ 0 h 3595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5405" h="3595255">
                <a:moveTo>
                  <a:pt x="0" y="0"/>
                </a:moveTo>
                <a:lnTo>
                  <a:pt x="985405" y="259773"/>
                </a:lnTo>
                <a:lnTo>
                  <a:pt x="985405" y="3595255"/>
                </a:lnTo>
                <a:lnTo>
                  <a:pt x="0" y="359525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5" name="Rectángulo 8">
            <a:extLst>
              <a:ext uri="{FF2B5EF4-FFF2-40B4-BE49-F238E27FC236}">
                <a16:creationId xmlns:a16="http://schemas.microsoft.com/office/drawing/2014/main" id="{3E974AAD-8F9B-2E42-A5FB-13D764EAA100}"/>
              </a:ext>
            </a:extLst>
          </p:cNvPr>
          <p:cNvSpPr/>
          <p:nvPr userDrawn="1"/>
        </p:nvSpPr>
        <p:spPr>
          <a:xfrm>
            <a:off x="10992544" y="1288475"/>
            <a:ext cx="1383028" cy="6220692"/>
          </a:xfrm>
          <a:custGeom>
            <a:avLst/>
            <a:gdLst>
              <a:gd name="connsiteX0" fmla="*/ 0 w 1289338"/>
              <a:gd name="connsiteY0" fmla="*/ 0 h 4665519"/>
              <a:gd name="connsiteX1" fmla="*/ 1289338 w 1289338"/>
              <a:gd name="connsiteY1" fmla="*/ 0 h 4665519"/>
              <a:gd name="connsiteX2" fmla="*/ 1289338 w 1289338"/>
              <a:gd name="connsiteY2" fmla="*/ 4665519 h 4665519"/>
              <a:gd name="connsiteX3" fmla="*/ 0 w 1289338"/>
              <a:gd name="connsiteY3" fmla="*/ 4665519 h 4665519"/>
              <a:gd name="connsiteX4" fmla="*/ 0 w 1289338"/>
              <a:gd name="connsiteY4" fmla="*/ 0 h 4665519"/>
              <a:gd name="connsiteX0" fmla="*/ 0 w 1289338"/>
              <a:gd name="connsiteY0" fmla="*/ 0 h 4665519"/>
              <a:gd name="connsiteX1" fmla="*/ 1278947 w 1289338"/>
              <a:gd name="connsiteY1" fmla="*/ 394854 h 4665519"/>
              <a:gd name="connsiteX2" fmla="*/ 1289338 w 1289338"/>
              <a:gd name="connsiteY2" fmla="*/ 4665519 h 4665519"/>
              <a:gd name="connsiteX3" fmla="*/ 0 w 1289338"/>
              <a:gd name="connsiteY3" fmla="*/ 4665519 h 4665519"/>
              <a:gd name="connsiteX4" fmla="*/ 0 w 1289338"/>
              <a:gd name="connsiteY4" fmla="*/ 0 h 4665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338" h="4665519">
                <a:moveTo>
                  <a:pt x="0" y="0"/>
                </a:moveTo>
                <a:lnTo>
                  <a:pt x="1278947" y="394854"/>
                </a:lnTo>
                <a:cubicBezTo>
                  <a:pt x="1282411" y="1818409"/>
                  <a:pt x="1285874" y="3241964"/>
                  <a:pt x="1289338" y="4665519"/>
                </a:cubicBezTo>
                <a:lnTo>
                  <a:pt x="0" y="4665519"/>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pic>
        <p:nvPicPr>
          <p:cNvPr id="6" name="Imagen 5"/>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7"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Tree>
    <p:extLst>
      <p:ext uri="{BB962C8B-B14F-4D97-AF65-F5344CB8AC3E}">
        <p14:creationId xmlns:p14="http://schemas.microsoft.com/office/powerpoint/2010/main" val="318113198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parata n1. Grafit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1592921"/>
            <a:ext cx="6951931"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a:t>
            </a:fld>
            <a:endParaRPr lang="es-ES" sz="1066">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5B101F9E-64AF-FC48-B2A1-F70779554AB4}"/>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29348611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parata n1. Pie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2" y="1592921"/>
            <a:ext cx="6938076"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a:t>Nº</a:t>
            </a:r>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a:t>
            </a:fld>
            <a:endParaRPr lang="es-ES" sz="1066">
              <a:solidFill>
                <a:schemeClr val="tx1"/>
              </a:solidFill>
            </a:endParaRPr>
          </a:p>
        </p:txBody>
      </p:sp>
      <p:pic>
        <p:nvPicPr>
          <p:cNvPr id="15" name="Imagen 14"/>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1" name="Freeform 5">
            <a:extLst>
              <a:ext uri="{FF2B5EF4-FFF2-40B4-BE49-F238E27FC236}">
                <a16:creationId xmlns:a16="http://schemas.microsoft.com/office/drawing/2014/main" id="{78611A90-5661-7849-85C4-60F38E37590D}"/>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36569993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parata n1. Amarill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a:t>Nº</a:t>
            </a:r>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a:t>
            </a:fld>
            <a:endParaRPr lang="es-ES" sz="1066">
              <a:solidFill>
                <a:schemeClr val="tx1"/>
              </a:solidFill>
            </a:endParaRPr>
          </a:p>
        </p:txBody>
      </p:sp>
      <p:pic>
        <p:nvPicPr>
          <p:cNvPr id="15" name="Imagen 14"/>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1" name="Freeform 5">
            <a:extLst>
              <a:ext uri="{FF2B5EF4-FFF2-40B4-BE49-F238E27FC236}">
                <a16:creationId xmlns:a16="http://schemas.microsoft.com/office/drawing/2014/main" id="{57625A35-6F69-D543-BA04-C64550EF3B02}"/>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283500455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Separata n1. Naranja">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a:t>
            </a:fld>
            <a:endParaRPr lang="es-ES" sz="1066">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26E4C2C5-0D36-E34C-9E34-75AB96E1F27C}"/>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15282007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ierre">
    <p:bg>
      <p:bgPr>
        <a:solidFill>
          <a:schemeClr val="bg2"/>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404837" y="712437"/>
            <a:ext cx="7553833" cy="714581"/>
          </a:xfrm>
          <a:prstGeom prst="rect">
            <a:avLst/>
          </a:prstGeom>
        </p:spPr>
        <p:txBody>
          <a:bodyPr vert="horz" lIns="0" tIns="0" rIns="0" bIns="0" rtlCol="0" anchor="t">
            <a:noAutofit/>
          </a:bodyPr>
          <a:lstStyle>
            <a:lvl1pPr>
              <a:defRPr sz="5330" b="0" i="0">
                <a:solidFill>
                  <a:schemeClr val="tx1"/>
                </a:solidFill>
                <a:latin typeface="Playfair Display" pitchFamily="2" charset="77"/>
              </a:defRPr>
            </a:lvl1pPr>
          </a:lstStyle>
          <a:p>
            <a:r>
              <a:rPr lang="es-ES"/>
              <a:t>Gracias!</a:t>
            </a:r>
            <a:endParaRPr lang="en-US"/>
          </a:p>
        </p:txBody>
      </p:sp>
      <p:sp>
        <p:nvSpPr>
          <p:cNvPr id="3" name="Rectángulo 3">
            <a:extLst>
              <a:ext uri="{FF2B5EF4-FFF2-40B4-BE49-F238E27FC236}">
                <a16:creationId xmlns:a16="http://schemas.microsoft.com/office/drawing/2014/main" id="{A1E39811-A34B-AD46-8ACC-A06DB4D267D0}"/>
              </a:ext>
            </a:extLst>
          </p:cNvPr>
          <p:cNvSpPr/>
          <p:nvPr userDrawn="1"/>
        </p:nvSpPr>
        <p:spPr>
          <a:xfrm>
            <a:off x="7744691" y="3699164"/>
            <a:ext cx="2575779" cy="3810000"/>
          </a:xfrm>
          <a:custGeom>
            <a:avLst/>
            <a:gdLst>
              <a:gd name="connsiteX0" fmla="*/ 0 w 1569027"/>
              <a:gd name="connsiteY0" fmla="*/ 0 h 2857500"/>
              <a:gd name="connsiteX1" fmla="*/ 1569027 w 1569027"/>
              <a:gd name="connsiteY1" fmla="*/ 0 h 2857500"/>
              <a:gd name="connsiteX2" fmla="*/ 1569027 w 1569027"/>
              <a:gd name="connsiteY2" fmla="*/ 2857500 h 2857500"/>
              <a:gd name="connsiteX3" fmla="*/ 0 w 1569027"/>
              <a:gd name="connsiteY3" fmla="*/ 2857500 h 2857500"/>
              <a:gd name="connsiteX4" fmla="*/ 0 w 1569027"/>
              <a:gd name="connsiteY4" fmla="*/ 0 h 2857500"/>
              <a:gd name="connsiteX0" fmla="*/ 0 w 1569027"/>
              <a:gd name="connsiteY0" fmla="*/ 0 h 2857500"/>
              <a:gd name="connsiteX1" fmla="*/ 1558636 w 1569027"/>
              <a:gd name="connsiteY1" fmla="*/ 467591 h 2857500"/>
              <a:gd name="connsiteX2" fmla="*/ 1569027 w 1569027"/>
              <a:gd name="connsiteY2" fmla="*/ 2857500 h 2857500"/>
              <a:gd name="connsiteX3" fmla="*/ 0 w 1569027"/>
              <a:gd name="connsiteY3" fmla="*/ 2857500 h 2857500"/>
              <a:gd name="connsiteX4" fmla="*/ 0 w 1569027"/>
              <a:gd name="connsiteY4" fmla="*/ 0 h 2857500"/>
              <a:gd name="connsiteX0" fmla="*/ 0 w 1610767"/>
              <a:gd name="connsiteY0" fmla="*/ 0 h 2857500"/>
              <a:gd name="connsiteX1" fmla="*/ 1610590 w 1610767"/>
              <a:gd name="connsiteY1" fmla="*/ 477982 h 2857500"/>
              <a:gd name="connsiteX2" fmla="*/ 1569027 w 1610767"/>
              <a:gd name="connsiteY2" fmla="*/ 2857500 h 2857500"/>
              <a:gd name="connsiteX3" fmla="*/ 0 w 1610767"/>
              <a:gd name="connsiteY3" fmla="*/ 2857500 h 2857500"/>
              <a:gd name="connsiteX4" fmla="*/ 0 w 1610767"/>
              <a:gd name="connsiteY4" fmla="*/ 0 h 285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767" h="2857500">
                <a:moveTo>
                  <a:pt x="0" y="0"/>
                </a:moveTo>
                <a:lnTo>
                  <a:pt x="1610590" y="477982"/>
                </a:lnTo>
                <a:cubicBezTo>
                  <a:pt x="1614054" y="1274618"/>
                  <a:pt x="1565563" y="2060864"/>
                  <a:pt x="1569027" y="2857500"/>
                </a:cubicBezTo>
                <a:lnTo>
                  <a:pt x="0" y="285750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4" name="Rectángulo 4">
            <a:extLst>
              <a:ext uri="{FF2B5EF4-FFF2-40B4-BE49-F238E27FC236}">
                <a16:creationId xmlns:a16="http://schemas.microsoft.com/office/drawing/2014/main" id="{A3F9223B-685F-2843-9227-57F23C3FCEB4}"/>
              </a:ext>
            </a:extLst>
          </p:cNvPr>
          <p:cNvSpPr/>
          <p:nvPr userDrawn="1"/>
        </p:nvSpPr>
        <p:spPr>
          <a:xfrm>
            <a:off x="10128451" y="2715495"/>
            <a:ext cx="1010606" cy="4793673"/>
          </a:xfrm>
          <a:custGeom>
            <a:avLst/>
            <a:gdLst>
              <a:gd name="connsiteX0" fmla="*/ 0 w 985405"/>
              <a:gd name="connsiteY0" fmla="*/ 0 h 3595255"/>
              <a:gd name="connsiteX1" fmla="*/ 985405 w 985405"/>
              <a:gd name="connsiteY1" fmla="*/ 0 h 3595255"/>
              <a:gd name="connsiteX2" fmla="*/ 985405 w 985405"/>
              <a:gd name="connsiteY2" fmla="*/ 3595255 h 3595255"/>
              <a:gd name="connsiteX3" fmla="*/ 0 w 985405"/>
              <a:gd name="connsiteY3" fmla="*/ 3595255 h 3595255"/>
              <a:gd name="connsiteX4" fmla="*/ 0 w 985405"/>
              <a:gd name="connsiteY4" fmla="*/ 0 h 3595255"/>
              <a:gd name="connsiteX0" fmla="*/ 0 w 985405"/>
              <a:gd name="connsiteY0" fmla="*/ 0 h 3595255"/>
              <a:gd name="connsiteX1" fmla="*/ 985405 w 985405"/>
              <a:gd name="connsiteY1" fmla="*/ 259773 h 3595255"/>
              <a:gd name="connsiteX2" fmla="*/ 985405 w 985405"/>
              <a:gd name="connsiteY2" fmla="*/ 3595255 h 3595255"/>
              <a:gd name="connsiteX3" fmla="*/ 0 w 985405"/>
              <a:gd name="connsiteY3" fmla="*/ 3595255 h 3595255"/>
              <a:gd name="connsiteX4" fmla="*/ 0 w 985405"/>
              <a:gd name="connsiteY4" fmla="*/ 0 h 3595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5405" h="3595255">
                <a:moveTo>
                  <a:pt x="0" y="0"/>
                </a:moveTo>
                <a:lnTo>
                  <a:pt x="985405" y="259773"/>
                </a:lnTo>
                <a:lnTo>
                  <a:pt x="985405" y="3595255"/>
                </a:lnTo>
                <a:lnTo>
                  <a:pt x="0" y="359525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5" name="Rectángulo 8">
            <a:extLst>
              <a:ext uri="{FF2B5EF4-FFF2-40B4-BE49-F238E27FC236}">
                <a16:creationId xmlns:a16="http://schemas.microsoft.com/office/drawing/2014/main" id="{3E974AAD-8F9B-2E42-A5FB-13D764EAA100}"/>
              </a:ext>
            </a:extLst>
          </p:cNvPr>
          <p:cNvSpPr/>
          <p:nvPr userDrawn="1"/>
        </p:nvSpPr>
        <p:spPr>
          <a:xfrm>
            <a:off x="10992544" y="1288475"/>
            <a:ext cx="1383028" cy="6220692"/>
          </a:xfrm>
          <a:custGeom>
            <a:avLst/>
            <a:gdLst>
              <a:gd name="connsiteX0" fmla="*/ 0 w 1289338"/>
              <a:gd name="connsiteY0" fmla="*/ 0 h 4665519"/>
              <a:gd name="connsiteX1" fmla="*/ 1289338 w 1289338"/>
              <a:gd name="connsiteY1" fmla="*/ 0 h 4665519"/>
              <a:gd name="connsiteX2" fmla="*/ 1289338 w 1289338"/>
              <a:gd name="connsiteY2" fmla="*/ 4665519 h 4665519"/>
              <a:gd name="connsiteX3" fmla="*/ 0 w 1289338"/>
              <a:gd name="connsiteY3" fmla="*/ 4665519 h 4665519"/>
              <a:gd name="connsiteX4" fmla="*/ 0 w 1289338"/>
              <a:gd name="connsiteY4" fmla="*/ 0 h 4665519"/>
              <a:gd name="connsiteX0" fmla="*/ 0 w 1289338"/>
              <a:gd name="connsiteY0" fmla="*/ 0 h 4665519"/>
              <a:gd name="connsiteX1" fmla="*/ 1278947 w 1289338"/>
              <a:gd name="connsiteY1" fmla="*/ 394854 h 4665519"/>
              <a:gd name="connsiteX2" fmla="*/ 1289338 w 1289338"/>
              <a:gd name="connsiteY2" fmla="*/ 4665519 h 4665519"/>
              <a:gd name="connsiteX3" fmla="*/ 0 w 1289338"/>
              <a:gd name="connsiteY3" fmla="*/ 4665519 h 4665519"/>
              <a:gd name="connsiteX4" fmla="*/ 0 w 1289338"/>
              <a:gd name="connsiteY4" fmla="*/ 0 h 4665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338" h="4665519">
                <a:moveTo>
                  <a:pt x="0" y="0"/>
                </a:moveTo>
                <a:lnTo>
                  <a:pt x="1278947" y="394854"/>
                </a:lnTo>
                <a:cubicBezTo>
                  <a:pt x="1282411" y="1818409"/>
                  <a:pt x="1285874" y="3241964"/>
                  <a:pt x="1289338" y="4665519"/>
                </a:cubicBezTo>
                <a:lnTo>
                  <a:pt x="0" y="4665519"/>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pic>
        <p:nvPicPr>
          <p:cNvPr id="6" name="Imagen 5"/>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7"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Tree>
    <p:extLst>
      <p:ext uri="{BB962C8B-B14F-4D97-AF65-F5344CB8AC3E}">
        <p14:creationId xmlns:p14="http://schemas.microsoft.com/office/powerpoint/2010/main" val="260562879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Separata n1. Roj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a:t>
            </a:fld>
            <a:endParaRPr lang="es-ES" sz="1066">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52231655-E814-554D-A77B-76AE9E4B8F36}"/>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333715630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Separata n1. Verde">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a:t>
            </a:fld>
            <a:endParaRPr lang="es-ES" sz="1066">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A23CE7FB-CF5A-CA42-B78E-69EC6A848FB0}"/>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7204794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Separata n1. Azu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a:t>
            </a:fld>
            <a:endParaRPr lang="es-ES" sz="1066">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881361F9-92A8-6949-BEF9-77B573EB2B51}"/>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16566157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Separata n1. Morad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a:t>
            </a:fld>
            <a:endParaRPr lang="es-ES" sz="1066">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74E9E540-B7BF-4344-8072-B7008201BE20}"/>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336770490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para n2_Grafit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a:t>
            </a:fld>
            <a:endParaRPr lang="es-ES" sz="1066">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760C3CE1-1E28-6546-9D6D-A09B9CDA1994}"/>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8914225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para n2_Piel">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a:t>
            </a:fld>
            <a:endParaRPr lang="es-ES" sz="1066">
              <a:solidFill>
                <a:schemeClr val="tx1"/>
              </a:solidFill>
            </a:endParaRPr>
          </a:p>
        </p:txBody>
      </p:sp>
      <p:pic>
        <p:nvPicPr>
          <p:cNvPr id="14" name="Imagen 13"/>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DEC9B28E-6B7A-0E4E-B90F-9C217C75299E}"/>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61677741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para n1_Amarill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a:t>
            </a:fld>
            <a:endParaRPr lang="es-ES" sz="1066">
              <a:solidFill>
                <a:schemeClr val="tx1"/>
              </a:solidFill>
            </a:endParaRPr>
          </a:p>
        </p:txBody>
      </p:sp>
      <p:pic>
        <p:nvPicPr>
          <p:cNvPr id="15" name="Imagen 14"/>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59D1119D-7D51-D44F-94AB-E6DA2AD81F78}"/>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273331257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para n2_Naranja">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3" y="1592921"/>
            <a:ext cx="6818927"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a:t>
            </a:fld>
            <a:endParaRPr lang="es-ES" sz="1066">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A1B5AB55-B564-F54E-A43A-49F65087AAEE}"/>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281469487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para n2_roj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2</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a:t>
            </a:fld>
            <a:endParaRPr lang="es-ES" sz="1066">
              <a:solidFill>
                <a:schemeClr val="bg1"/>
              </a:solidFill>
            </a:endParaRPr>
          </a:p>
        </p:txBody>
      </p:sp>
      <p:pic>
        <p:nvPicPr>
          <p:cNvPr id="13" name="Imagen 12"/>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AF48F91E-AAFB-524A-95AE-FEB5DBF353FA}"/>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38773900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para n2_Verde">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a:t>
            </a:fld>
            <a:endParaRPr lang="es-ES" sz="1066">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FC254CD5-68FD-894C-AC6F-D3DF03A43FEB}"/>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18480893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parata n1. Grafit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1592921"/>
            <a:ext cx="6951931"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5B101F9E-64AF-FC48-B2A1-F70779554AB4}"/>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277615216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para n2_Azul">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a:t>
            </a:fld>
            <a:endParaRPr lang="es-ES" sz="1066">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28F0CE16-977C-DF45-B8D7-297950F18BFA}"/>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356585363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para n2_Morad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a:t>
            </a:fld>
            <a:endParaRPr lang="es-ES" sz="1066">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22E0AD7B-150C-EB41-978F-26BBDF5F4223}"/>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247944996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dea Prinicpal_Gris">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253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a:t>Haga clic para un texto destacado o una idea principal</a:t>
            </a:r>
            <a:endParaRPr lang="en-US"/>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a:t>
            </a:fld>
            <a:endParaRPr lang="es-ES" sz="1066">
              <a:solidFill>
                <a:schemeClr val="tx1"/>
              </a:solidFill>
            </a:endParaRPr>
          </a:p>
        </p:txBody>
      </p:sp>
      <p:pic>
        <p:nvPicPr>
          <p:cNvPr id="17" name="Imagen 16"/>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9"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Tree>
    <p:extLst>
      <p:ext uri="{BB962C8B-B14F-4D97-AF65-F5344CB8AC3E}">
        <p14:creationId xmlns:p14="http://schemas.microsoft.com/office/powerpoint/2010/main" val="4037221876"/>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dea principal. Piel">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25394"/>
            <a:ext cx="9475766" cy="5269827"/>
          </a:xfrm>
          <a:prstGeom prst="rect">
            <a:avLst/>
          </a:prstGeom>
        </p:spPr>
        <p:txBody>
          <a:bodyPr vert="horz" lIns="0" tIns="0" rIns="0" bIns="0" rtlCol="0" anchor="t">
            <a:noAutofit/>
          </a:bodyPr>
          <a:lstStyle>
            <a:lvl1pPr>
              <a:defRPr sz="3198">
                <a:solidFill>
                  <a:schemeClr val="bg1"/>
                </a:solidFill>
              </a:defRPr>
            </a:lvl1pPr>
          </a:lstStyle>
          <a:p>
            <a:r>
              <a:rPr lang="es-ES"/>
              <a:t>Haga clic para un texto destacado o una idea principal</a:t>
            </a:r>
            <a:endParaRPr lang="en-US"/>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913897"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1A3B47"/>
                </a:solidFill>
                <a:effectLst/>
                <a:uLnTx/>
                <a:uFillTx/>
                <a:latin typeface="Soho Gothic Pro" panose="020B0503030504020204" pitchFamily="34" charset="77"/>
                <a:ea typeface="+mn-ea"/>
                <a:cs typeface="+mn-cs"/>
              </a:rPr>
              <a:pPr marL="0" marR="0" lvl="0" indent="0" algn="r" defTabSz="913897"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1A3B47"/>
              </a:solidFill>
              <a:effectLst/>
              <a:uLnTx/>
              <a:uFillTx/>
              <a:latin typeface="Soho Gothic Pro" panose="020B0503030504020204" pitchFamily="34" charset="77"/>
              <a:ea typeface="+mn-ea"/>
              <a:cs typeface="+mn-cs"/>
            </a:endParaRPr>
          </a:p>
        </p:txBody>
      </p:sp>
      <p:pic>
        <p:nvPicPr>
          <p:cNvPr id="15" name="Imagen 14"/>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7"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Tree>
    <p:extLst>
      <p:ext uri="{BB962C8B-B14F-4D97-AF65-F5344CB8AC3E}">
        <p14:creationId xmlns:p14="http://schemas.microsoft.com/office/powerpoint/2010/main" val="4164959678"/>
      </p:ext>
    </p:extLst>
  </p:cSld>
  <p:clrMapOvr>
    <a:overrideClrMapping bg1="dk1" tx1="lt1" bg2="dk2" tx2="lt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dea principal. Grafito">
    <p:bg>
      <p:bgRef idx="1001">
        <a:schemeClr val="bg1"/>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253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a:t>Haga clic para un texto destacado o una idea principal</a:t>
            </a:r>
            <a:endParaRPr lang="en-US"/>
          </a:p>
        </p:txBody>
      </p:sp>
      <p:sp>
        <p:nvSpPr>
          <p:cNvPr id="7"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a:t>
            </a:fld>
            <a:endParaRPr lang="es-ES" sz="1066">
              <a:solidFill>
                <a:schemeClr val="tx1"/>
              </a:solidFill>
            </a:endParaRPr>
          </a:p>
        </p:txBody>
      </p:sp>
      <p:pic>
        <p:nvPicPr>
          <p:cNvPr id="12" name="Imagen 11"/>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5" name="Imagen 14">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749647805"/>
      </p:ext>
    </p:extLst>
  </p:cSld>
  <p:clrMapOvr>
    <a:overrideClrMapping bg1="dk1" tx1="lt1" bg2="dk2" tx2="lt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dea principal. Amarillo">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bg1"/>
                </a:solidFill>
              </a:defRPr>
            </a:lvl1pPr>
          </a:lstStyle>
          <a:p>
            <a:r>
              <a:rPr lang="es-ES"/>
              <a:t>Haga clic para un texto destacado o una idea principal</a:t>
            </a:r>
            <a:endParaRPr lang="en-US"/>
          </a:p>
        </p:txBody>
      </p:sp>
      <p:sp>
        <p:nvSpPr>
          <p:cNvPr id="14"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913897"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1A3B47"/>
                </a:solidFill>
                <a:effectLst/>
                <a:uLnTx/>
                <a:uFillTx/>
                <a:latin typeface="Soho Gothic Pro" panose="020B0503030504020204" pitchFamily="34" charset="77"/>
                <a:ea typeface="+mn-ea"/>
                <a:cs typeface="+mn-cs"/>
              </a:rPr>
              <a:pPr marL="0" marR="0" lvl="0" indent="0" algn="r" defTabSz="913897"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1A3B47"/>
              </a:solidFill>
              <a:effectLst/>
              <a:uLnTx/>
              <a:uFillTx/>
              <a:latin typeface="Soho Gothic Pro" panose="020B0503030504020204" pitchFamily="34" charset="77"/>
              <a:ea typeface="+mn-ea"/>
              <a:cs typeface="+mn-cs"/>
            </a:endParaRPr>
          </a:p>
        </p:txBody>
      </p:sp>
      <p:pic>
        <p:nvPicPr>
          <p:cNvPr id="18" name="Imagen 17"/>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9"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Tree>
    <p:extLst>
      <p:ext uri="{BB962C8B-B14F-4D97-AF65-F5344CB8AC3E}">
        <p14:creationId xmlns:p14="http://schemas.microsoft.com/office/powerpoint/2010/main" val="962673041"/>
      </p:ext>
    </p:extLst>
  </p:cSld>
  <p:clrMapOvr>
    <a:overrideClrMapping bg1="dk1" tx1="lt1" bg2="dk2" tx2="lt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dea principal. Naranj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8"/>
            <a:ext cx="9475766" cy="5269827"/>
          </a:xfrm>
          <a:prstGeom prst="rect">
            <a:avLst/>
          </a:prstGeom>
        </p:spPr>
        <p:txBody>
          <a:bodyPr vert="horz" lIns="0" tIns="0" rIns="0" bIns="0" rtlCol="0" anchor="t">
            <a:noAutofit/>
          </a:bodyPr>
          <a:lstStyle>
            <a:lvl1pPr>
              <a:defRPr sz="3198">
                <a:solidFill>
                  <a:schemeClr val="tx1"/>
                </a:solidFill>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a:t>
            </a:fld>
            <a:endParaRPr lang="es-ES" sz="1066">
              <a:solidFill>
                <a:schemeClr val="tx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1587826274"/>
      </p:ext>
    </p:extLst>
  </p:cSld>
  <p:clrMapOvr>
    <a:overrideClrMapping bg1="dk1" tx1="lt1" bg2="dk2" tx2="lt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dea principal. Ros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a:t>
            </a:fld>
            <a:endParaRPr lang="es-ES" sz="1066">
              <a:solidFill>
                <a:schemeClr val="tx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3797511390"/>
      </p:ext>
    </p:extLst>
  </p:cSld>
  <p:clrMapOvr>
    <a:overrideClrMapping bg1="dk1" tx1="lt1" bg2="dk2" tx2="lt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dea principal. Verde">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a:t>
            </a:fld>
            <a:endParaRPr lang="es-ES" sz="1066">
              <a:solidFill>
                <a:schemeClr val="tx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3391323199"/>
      </p:ext>
    </p:extLst>
  </p:cSld>
  <p:clrMapOvr>
    <a:overrideClrMapping bg1="dk1" tx1="lt1" bg2="dk2" tx2="lt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dea principal. Azul">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8"/>
            <a:ext cx="9475766" cy="5269827"/>
          </a:xfrm>
          <a:prstGeom prst="rect">
            <a:avLst/>
          </a:prstGeom>
        </p:spPr>
        <p:txBody>
          <a:bodyPr vert="horz" lIns="0" tIns="0" rIns="0" bIns="0" rtlCol="0" anchor="t">
            <a:noAutofit/>
          </a:bodyPr>
          <a:lstStyle>
            <a:lvl1pPr>
              <a:defRPr sz="3198">
                <a:solidFill>
                  <a:schemeClr val="tx1"/>
                </a:solidFill>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a:t>
            </a:fld>
            <a:endParaRPr lang="es-ES" sz="1066">
              <a:solidFill>
                <a:schemeClr val="tx1"/>
              </a:solidFill>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a:stretch>
            <a:fillRect/>
          </a:stretch>
        </p:blipFill>
        <p:spPr>
          <a:xfrm>
            <a:off x="336001" y="6505495"/>
            <a:ext cx="859201" cy="170476"/>
          </a:xfrm>
          <a:prstGeom prst="rect">
            <a:avLst/>
          </a:prstGeom>
        </p:spPr>
      </p:pic>
    </p:spTree>
    <p:extLst>
      <p:ext uri="{BB962C8B-B14F-4D97-AF65-F5344CB8AC3E}">
        <p14:creationId xmlns:p14="http://schemas.microsoft.com/office/powerpoint/2010/main" val="2636823305"/>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parata n1. Pie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2" y="1592921"/>
            <a:ext cx="6938076"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a:t>Nº</a:t>
            </a:r>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1A3B47"/>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1A3B47"/>
              </a:solidFill>
              <a:effectLst/>
              <a:uLnTx/>
              <a:uFillTx/>
              <a:latin typeface="Soho Gothic Pro" panose="020B0503030504020204" pitchFamily="34" charset="77"/>
              <a:ea typeface="+mn-ea"/>
              <a:cs typeface="+mn-cs"/>
            </a:endParaRPr>
          </a:p>
        </p:txBody>
      </p:sp>
      <p:pic>
        <p:nvPicPr>
          <p:cNvPr id="15" name="Imagen 14"/>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1" name="Freeform 5">
            <a:extLst>
              <a:ext uri="{FF2B5EF4-FFF2-40B4-BE49-F238E27FC236}">
                <a16:creationId xmlns:a16="http://schemas.microsoft.com/office/drawing/2014/main" id="{78611A90-5661-7849-85C4-60F38E37590D}"/>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228510491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dea principal. Morado">
    <p:bg>
      <p:bgRef idx="1001">
        <a:schemeClr val="bg2"/>
      </p:bgRef>
    </p:bg>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extLst>
              <p:ext uri="{D42A27DB-BD31-4B8C-83A1-F6EECF244321}">
                <p14:modId xmlns:p14="http://schemas.microsoft.com/office/powerpoint/2010/main" val="3393252540"/>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24800"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3" name="Rectángulo 2"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s-ES" sz="2665" b="0" i="0" baseline="0">
              <a:latin typeface="Playfair Display" panose="00000500000000000000"/>
              <a:ea typeface="+mj-ea"/>
              <a:cs typeface="+mj-cs"/>
              <a:sym typeface="Playfair Display" panose="00000500000000000000"/>
            </a:endParaRPr>
          </a:p>
        </p:txBody>
      </p:sp>
      <p:sp>
        <p:nvSpPr>
          <p:cNvPr id="2" name="Rectángulo 1">
            <a:extLst>
              <a:ext uri="{FF2B5EF4-FFF2-40B4-BE49-F238E27FC236}">
                <a16:creationId xmlns:a16="http://schemas.microsoft.com/office/drawing/2014/main" id="{810E9B03-F7C3-9F47-9D4A-723840648AC5}"/>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pic>
        <p:nvPicPr>
          <p:cNvPr id="19" name="Imagen 18">
            <a:extLst>
              <a:ext uri="{FF2B5EF4-FFF2-40B4-BE49-F238E27FC236}">
                <a16:creationId xmlns:a16="http://schemas.microsoft.com/office/drawing/2014/main" id="{A3612F95-8251-5349-ABFE-8A62EF3295EE}"/>
              </a:ext>
            </a:extLst>
          </p:cNvPr>
          <p:cNvPicPr>
            <a:picLocks noChangeAspect="1"/>
          </p:cNvPicPr>
          <p:nvPr userDrawn="1"/>
        </p:nvPicPr>
        <p:blipFill>
          <a:blip r:embed="rId7"/>
          <a:stretch>
            <a:fillRect/>
          </a:stretch>
        </p:blipFill>
        <p:spPr>
          <a:xfrm>
            <a:off x="336001" y="6505495"/>
            <a:ext cx="859201" cy="170476"/>
          </a:xfrm>
          <a:prstGeom prst="rect">
            <a:avLst/>
          </a:prstGeom>
        </p:spPr>
      </p:pic>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83670" y="716494"/>
            <a:ext cx="9475766" cy="5269827"/>
          </a:xfrm>
          <a:prstGeom prst="rect">
            <a:avLst/>
          </a:prstGeom>
        </p:spPr>
        <p:txBody>
          <a:bodyPr vert="horz" lIns="0" tIns="0" rIns="0" bIns="0" rtlCol="0" anchor="t">
            <a:noAutofit/>
          </a:bodyPr>
          <a:lstStyle>
            <a:lvl1pPr>
              <a:defRPr sz="3198">
                <a:solidFill>
                  <a:schemeClr val="tx1"/>
                </a:solidFill>
              </a:defRPr>
            </a:lvl1pPr>
          </a:lstStyle>
          <a:p>
            <a:r>
              <a:rPr lang="es-ES"/>
              <a:t>Haga clic para un texto destacado o una idea principal</a:t>
            </a:r>
            <a:endParaRPr lang="en-US"/>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tx1"/>
                </a:solidFill>
              </a:rPr>
              <a:pPr algn="r"/>
              <a:t>‹N›</a:t>
            </a:fld>
            <a:endParaRPr lang="es-ES" sz="1066">
              <a:solidFill>
                <a:schemeClr val="tx1"/>
              </a:solidFill>
            </a:endParaRPr>
          </a:p>
        </p:txBody>
      </p:sp>
      <p:pic>
        <p:nvPicPr>
          <p:cNvPr id="16" name="Imagen 15"/>
          <p:cNvPicPr>
            <a:picLocks noChangeAspect="1"/>
          </p:cNvPicPr>
          <p:nvPr userDrawn="1"/>
        </p:nvPicPr>
        <p:blipFill>
          <a:blip r:embed="rId8">
            <a:lum bright="100000" contrast="-70000"/>
          </a:blip>
          <a:stretch>
            <a:fillRect/>
          </a:stretch>
        </p:blipFill>
        <p:spPr>
          <a:xfrm>
            <a:off x="8887258" y="6540533"/>
            <a:ext cx="1145182" cy="248840"/>
          </a:xfrm>
          <a:prstGeom prst="rect">
            <a:avLst/>
          </a:prstGeom>
        </p:spPr>
      </p:pic>
    </p:spTree>
    <p:extLst>
      <p:ext uri="{BB962C8B-B14F-4D97-AF65-F5344CB8AC3E}">
        <p14:creationId xmlns:p14="http://schemas.microsoft.com/office/powerpoint/2010/main" val="1275121332"/>
      </p:ext>
    </p:extLst>
  </p:cSld>
  <p:clrMapOvr>
    <a:overrideClrMapping bg1="dk1" tx1="lt1" bg2="dk2" tx2="lt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Naranj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1623716723"/>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25824"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a:t>
            </a:fld>
            <a:endParaRPr lang="es-ES" sz="1066">
              <a:solidFill>
                <a:schemeClr val="bg1"/>
              </a:solidFill>
            </a:endParaRPr>
          </a:p>
        </p:txBody>
      </p:sp>
    </p:spTree>
    <p:extLst>
      <p:ext uri="{BB962C8B-B14F-4D97-AF65-F5344CB8AC3E}">
        <p14:creationId xmlns:p14="http://schemas.microsoft.com/office/powerpoint/2010/main" val="316358599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Naranj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26848"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a:t>
            </a:fld>
            <a:endParaRPr lang="es-ES" sz="1066">
              <a:solidFill>
                <a:schemeClr val="bg1"/>
              </a:solidFill>
            </a:endParaRPr>
          </a:p>
        </p:txBody>
      </p:sp>
    </p:spTree>
    <p:extLst>
      <p:ext uri="{BB962C8B-B14F-4D97-AF65-F5344CB8AC3E}">
        <p14:creationId xmlns:p14="http://schemas.microsoft.com/office/powerpoint/2010/main" val="403550542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marillo endoso">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2"/>
            </p:custDataLst>
            <p:extLst>
              <p:ext uri="{D42A27DB-BD31-4B8C-83A1-F6EECF244321}">
                <p14:modId xmlns:p14="http://schemas.microsoft.com/office/powerpoint/2010/main" val="2527738736"/>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27872"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10" name="Rectángulo 9"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5999" y="649095"/>
            <a:ext cx="11521567"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6" name="12 Marcador de texto"/>
          <p:cNvSpPr>
            <a:spLocks noGrp="1"/>
          </p:cNvSpPr>
          <p:nvPr>
            <p:ph type="body" sz="quarter" idx="13"/>
          </p:nvPr>
        </p:nvSpPr>
        <p:spPr>
          <a:xfrm>
            <a:off x="336001" y="357000"/>
            <a:ext cx="11521566"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15" name="Grupo 14"/>
          <p:cNvGrpSpPr/>
          <p:nvPr userDrawn="1"/>
        </p:nvGrpSpPr>
        <p:grpSpPr>
          <a:xfrm>
            <a:off x="10328936" y="6242390"/>
            <a:ext cx="1871531" cy="642611"/>
            <a:chOff x="8064500" y="4790414"/>
            <a:chExt cx="1083150" cy="371911"/>
          </a:xfrm>
        </p:grpSpPr>
        <p:sp>
          <p:nvSpPr>
            <p:cNvPr id="16" name="Forma libre 15">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pic>
        <p:nvPicPr>
          <p:cNvPr id="18" name="Imagen 17"/>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9"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20"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a:t>
            </a:fld>
            <a:endParaRPr lang="es-ES" sz="1066">
              <a:solidFill>
                <a:schemeClr val="bg1"/>
              </a:solidFill>
            </a:endParaRPr>
          </a:p>
        </p:txBody>
      </p:sp>
    </p:spTree>
    <p:extLst>
      <p:ext uri="{BB962C8B-B14F-4D97-AF65-F5344CB8AC3E}">
        <p14:creationId xmlns:p14="http://schemas.microsoft.com/office/powerpoint/2010/main" val="228616297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Amarillo sin endoso">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28896" name="Diapositiva de think-cell" r:id="rId5" imgW="270" imgH="270" progId="TCLayout.ActiveDocument.1">
                  <p:embed/>
                </p:oleObj>
              </mc:Choice>
              <mc:Fallback>
                <p:oleObj name="Diapositiva de think-cell" r:id="rId5" imgW="270" imgH="270" progId="TCLayout.ActiveDocument.1">
                  <p:embed/>
                  <p:pic>
                    <p:nvPicPr>
                      <p:cNvPr id="11" name="Objeto 10"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10" name="Rectángulo 9"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5999" y="649095"/>
            <a:ext cx="11521567"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6" name="12 Marcador de texto"/>
          <p:cNvSpPr>
            <a:spLocks noGrp="1"/>
          </p:cNvSpPr>
          <p:nvPr>
            <p:ph type="body" sz="quarter" idx="13"/>
          </p:nvPr>
        </p:nvSpPr>
        <p:spPr>
          <a:xfrm>
            <a:off x="336001" y="357000"/>
            <a:ext cx="11521566"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15" name="Grupo 14"/>
          <p:cNvGrpSpPr/>
          <p:nvPr userDrawn="1"/>
        </p:nvGrpSpPr>
        <p:grpSpPr>
          <a:xfrm>
            <a:off x="10328936" y="6242390"/>
            <a:ext cx="1871531" cy="642611"/>
            <a:chOff x="8064500" y="4790414"/>
            <a:chExt cx="1083150" cy="371911"/>
          </a:xfrm>
        </p:grpSpPr>
        <p:sp>
          <p:nvSpPr>
            <p:cNvPr id="16" name="Forma libre 15">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20"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a:t>
            </a:fld>
            <a:endParaRPr lang="es-ES" sz="1066">
              <a:solidFill>
                <a:schemeClr val="bg1"/>
              </a:solidFill>
            </a:endParaRPr>
          </a:p>
        </p:txBody>
      </p:sp>
    </p:spTree>
    <p:extLst>
      <p:ext uri="{BB962C8B-B14F-4D97-AF65-F5344CB8AC3E}">
        <p14:creationId xmlns:p14="http://schemas.microsoft.com/office/powerpoint/2010/main" val="110646175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Ros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2389088129"/>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29920"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a:t>
            </a:fld>
            <a:endParaRPr lang="es-ES" sz="1066">
              <a:solidFill>
                <a:schemeClr val="bg1"/>
              </a:solidFill>
            </a:endParaRPr>
          </a:p>
        </p:txBody>
      </p:sp>
    </p:spTree>
    <p:extLst>
      <p:ext uri="{BB962C8B-B14F-4D97-AF65-F5344CB8AC3E}">
        <p14:creationId xmlns:p14="http://schemas.microsoft.com/office/powerpoint/2010/main" val="111392030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Ros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30944"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a:t>
            </a:fld>
            <a:endParaRPr lang="es-ES" sz="1066">
              <a:solidFill>
                <a:schemeClr val="bg1"/>
              </a:solidFill>
            </a:endParaRPr>
          </a:p>
        </p:txBody>
      </p:sp>
    </p:spTree>
    <p:extLst>
      <p:ext uri="{BB962C8B-B14F-4D97-AF65-F5344CB8AC3E}">
        <p14:creationId xmlns:p14="http://schemas.microsoft.com/office/powerpoint/2010/main" val="357778615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erde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3729375130"/>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31968"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a:t>
            </a:fld>
            <a:endParaRPr lang="es-ES" sz="1066">
              <a:solidFill>
                <a:schemeClr val="bg1"/>
              </a:solidFill>
            </a:endParaRPr>
          </a:p>
        </p:txBody>
      </p:sp>
    </p:spTree>
    <p:extLst>
      <p:ext uri="{BB962C8B-B14F-4D97-AF65-F5344CB8AC3E}">
        <p14:creationId xmlns:p14="http://schemas.microsoft.com/office/powerpoint/2010/main" val="131411187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Verde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32992"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9"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10328936" y="6242390"/>
            <a:ext cx="1871531"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a:t>
            </a:fld>
            <a:endParaRPr lang="es-ES" sz="1066">
              <a:solidFill>
                <a:schemeClr val="bg1"/>
              </a:solidFill>
            </a:endParaRPr>
          </a:p>
        </p:txBody>
      </p:sp>
    </p:spTree>
    <p:extLst>
      <p:ext uri="{BB962C8B-B14F-4D97-AF65-F5344CB8AC3E}">
        <p14:creationId xmlns:p14="http://schemas.microsoft.com/office/powerpoint/2010/main" val="21063212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zul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2609400719"/>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34016"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userDrawn="1"/>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a:t>
            </a:fld>
            <a:endParaRPr lang="es-ES" sz="1066">
              <a:solidFill>
                <a:schemeClr val="bg1"/>
              </a:solidFill>
            </a:endParaRPr>
          </a:p>
        </p:txBody>
      </p:sp>
    </p:spTree>
    <p:extLst>
      <p:ext uri="{BB962C8B-B14F-4D97-AF65-F5344CB8AC3E}">
        <p14:creationId xmlns:p14="http://schemas.microsoft.com/office/powerpoint/2010/main" val="40082381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parata n1. Amarill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a:t>Nº</a:t>
            </a:r>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1A3B47"/>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1A3B47"/>
              </a:solidFill>
              <a:effectLst/>
              <a:uLnTx/>
              <a:uFillTx/>
              <a:latin typeface="Soho Gothic Pro" panose="020B0503030504020204" pitchFamily="34" charset="77"/>
              <a:ea typeface="+mn-ea"/>
              <a:cs typeface="+mn-cs"/>
            </a:endParaRPr>
          </a:p>
        </p:txBody>
      </p:sp>
      <p:pic>
        <p:nvPicPr>
          <p:cNvPr id="15" name="Imagen 14"/>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1" name="Freeform 5">
            <a:extLst>
              <a:ext uri="{FF2B5EF4-FFF2-40B4-BE49-F238E27FC236}">
                <a16:creationId xmlns:a16="http://schemas.microsoft.com/office/drawing/2014/main" id="{57625A35-6F69-D543-BA04-C64550EF3B02}"/>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272500434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zul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35040"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userDrawn="1"/>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a:t>
            </a:fld>
            <a:endParaRPr lang="es-ES" sz="1066">
              <a:solidFill>
                <a:schemeClr val="bg1"/>
              </a:solidFill>
            </a:endParaRPr>
          </a:p>
        </p:txBody>
      </p:sp>
    </p:spTree>
    <p:extLst>
      <p:ext uri="{BB962C8B-B14F-4D97-AF65-F5344CB8AC3E}">
        <p14:creationId xmlns:p14="http://schemas.microsoft.com/office/powerpoint/2010/main" val="106714537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Lil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2302892558"/>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36064"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userDrawn="1"/>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pic>
        <p:nvPicPr>
          <p:cNvPr id="11" name="Imagen 10"/>
          <p:cNvPicPr>
            <a:picLocks noChangeAspect="1"/>
          </p:cNvPicPr>
          <p:nvPr userDrawn="1"/>
        </p:nvPicPr>
        <p:blipFill>
          <a:blip r:embed="rId7">
            <a:lum/>
          </a:blip>
          <a:stretch>
            <a:fillRect/>
          </a:stretch>
        </p:blipFill>
        <p:spPr>
          <a:xfrm>
            <a:off x="8887258" y="6540533"/>
            <a:ext cx="1145182" cy="248840"/>
          </a:xfrm>
          <a:prstGeom prst="rect">
            <a:avLst/>
          </a:prstGeom>
        </p:spPr>
      </p:pic>
      <p:sp>
        <p:nvSpPr>
          <p:cNvPr id="12"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endParaRPr lang="es-ES" sz="2397"/>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a:t>
            </a:fld>
            <a:endParaRPr lang="es-ES" sz="1066">
              <a:solidFill>
                <a:schemeClr val="bg1"/>
              </a:solidFill>
            </a:endParaRPr>
          </a:p>
        </p:txBody>
      </p:sp>
    </p:spTree>
    <p:extLst>
      <p:ext uri="{BB962C8B-B14F-4D97-AF65-F5344CB8AC3E}">
        <p14:creationId xmlns:p14="http://schemas.microsoft.com/office/powerpoint/2010/main" val="304102599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Lil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37088"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8"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userDrawn="1"/>
        </p:nvGrpSpPr>
        <p:grpSpPr>
          <a:xfrm>
            <a:off x="10328936" y="6242390"/>
            <a:ext cx="1871531"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6" smtClean="0">
                <a:solidFill>
                  <a:schemeClr val="bg1"/>
                </a:solidFill>
              </a:rPr>
              <a:pPr algn="r"/>
              <a:t>‹N›</a:t>
            </a:fld>
            <a:endParaRPr lang="es-ES" sz="1066">
              <a:solidFill>
                <a:schemeClr val="bg1"/>
              </a:solidFill>
            </a:endParaRPr>
          </a:p>
        </p:txBody>
      </p:sp>
    </p:spTree>
    <p:extLst>
      <p:ext uri="{BB962C8B-B14F-4D97-AF65-F5344CB8AC3E}">
        <p14:creationId xmlns:p14="http://schemas.microsoft.com/office/powerpoint/2010/main" val="315692245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Sin nada">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extLst>
              <p:ext uri="{D42A27DB-BD31-4B8C-83A1-F6EECF244321}">
                <p14:modId xmlns:p14="http://schemas.microsoft.com/office/powerpoint/2010/main" val="2113488895"/>
              </p:ext>
            </p:extLst>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38114"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2117" y="2121"/>
                        <a:ext cx="2117" cy="2117"/>
                      </a:xfrm>
                      <a:prstGeom prst="rect">
                        <a:avLst/>
                      </a:prstGeom>
                    </p:spPr>
                  </p:pic>
                </p:oleObj>
              </mc:Fallback>
            </mc:AlternateContent>
          </a:graphicData>
        </a:graphic>
      </p:graphicFrame>
      <p:sp>
        <p:nvSpPr>
          <p:cNvPr id="2" name="Rectángulo 1" hidden="1"/>
          <p:cNvSpPr/>
          <p:nvPr userDrawn="1">
            <p:custDataLst>
              <p:tags r:id="rId3"/>
            </p:custDataLst>
          </p:nvPr>
        </p:nvSpPr>
        <p:spPr>
          <a:xfrm>
            <a:off x="0" y="2"/>
            <a:ext cx="211666"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s-ES" sz="2665" b="0" i="0" baseline="0">
              <a:latin typeface="Playfair Display" panose="00000500000000000000" pitchFamily="2" charset="0"/>
              <a:ea typeface="+mj-ea"/>
              <a:cs typeface="+mj-cs"/>
              <a:sym typeface="Playfair Display" panose="00000500000000000000" pitchFamily="2" charset="0"/>
            </a:endParaRPr>
          </a:p>
        </p:txBody>
      </p:sp>
      <p:sp>
        <p:nvSpPr>
          <p:cNvPr id="5"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649095"/>
            <a:ext cx="11519451" cy="919343"/>
          </a:xfrm>
          <a:prstGeom prst="rect">
            <a:avLst/>
          </a:prstGeom>
        </p:spPr>
        <p:txBody>
          <a:bodyPr vert="horz" lIns="0" tIns="0" rIns="0" bIns="0" rtlCol="0" anchor="t">
            <a:noAutofit/>
          </a:bodyPr>
          <a:lstStyle>
            <a:lvl1pPr>
              <a:defRPr sz="2400"/>
            </a:lvl1pPr>
          </a:lstStyle>
          <a:p>
            <a:r>
              <a:rPr lang="es-ES"/>
              <a:t>Haga clic para modificar el título de esta página, cuentas con dos líneas para títulos extensos</a:t>
            </a:r>
            <a:endParaRPr lang="en-US"/>
          </a:p>
        </p:txBody>
      </p:sp>
      <p:sp>
        <p:nvSpPr>
          <p:cNvPr id="6" name="12 Marcador de texto"/>
          <p:cNvSpPr>
            <a:spLocks noGrp="1"/>
          </p:cNvSpPr>
          <p:nvPr>
            <p:ph type="body" sz="quarter" idx="13"/>
          </p:nvPr>
        </p:nvSpPr>
        <p:spPr>
          <a:xfrm>
            <a:off x="336000" y="357000"/>
            <a:ext cx="11519451"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825"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spTree>
    <p:extLst>
      <p:ext uri="{BB962C8B-B14F-4D97-AF65-F5344CB8AC3E}">
        <p14:creationId xmlns:p14="http://schemas.microsoft.com/office/powerpoint/2010/main" val="391229914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 Portada Foto">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B687104C-16D4-5049-93EC-3E0017E53BB5}"/>
              </a:ext>
            </a:extLst>
          </p:cNvPr>
          <p:cNvSpPr>
            <a:spLocks noGrp="1"/>
          </p:cNvSpPr>
          <p:nvPr>
            <p:ph type="pic" sz="quarter" idx="14"/>
          </p:nvPr>
        </p:nvSpPr>
        <p:spPr>
          <a:xfrm>
            <a:off x="0" y="4"/>
            <a:ext cx="12192000" cy="6877415"/>
          </a:xfrm>
          <a:prstGeom prst="rect">
            <a:avLst/>
          </a:prstGeom>
        </p:spPr>
        <p:txBody>
          <a:bodyPr anchor="t"/>
          <a:lstStyle>
            <a:lvl1pPr marL="0" indent="0" algn="ctr">
              <a:buNone/>
              <a:defRPr/>
            </a:lvl1pPr>
          </a:lstStyle>
          <a:p>
            <a:r>
              <a:rPr lang="es-ES"/>
              <a:t>Haga clic en el icono para agregar una imagen</a:t>
            </a:r>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2" y="383588"/>
            <a:ext cx="3725333" cy="214776"/>
          </a:xfrm>
          <a:prstGeom prst="rect">
            <a:avLst/>
          </a:prstGeom>
        </p:spPr>
        <p:txBody>
          <a:bodyPr lIns="0" tIns="0" rIns="0" bIns="0"/>
          <a:lstStyle>
            <a:lvl1pPr marL="0" indent="0">
              <a:buNone/>
              <a:defRPr sz="1866"/>
            </a:lvl1pPr>
          </a:lstStyle>
          <a:p>
            <a:r>
              <a:rPr lang="es-ES"/>
              <a:t>Editar el subtitulo de presentación 
</a:t>
            </a:r>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336002" y="689241"/>
            <a:ext cx="3725333" cy="159485"/>
          </a:xfrm>
          <a:prstGeom prst="rect">
            <a:avLst/>
          </a:prstGeom>
        </p:spPr>
        <p:txBody>
          <a:bodyPr lIns="0" tIns="0" rIns="0" bIns="0"/>
          <a:lstStyle>
            <a:lvl1pPr marL="0" indent="0">
              <a:buNone/>
              <a:defRPr sz="1333"/>
            </a:lvl1pPr>
          </a:lstStyle>
          <a:p>
            <a:r>
              <a:rPr lang="es-ES"/>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336000" y="986371"/>
            <a:ext cx="1799167" cy="639233"/>
          </a:xfrm>
          <a:prstGeom prst="rect">
            <a:avLst/>
          </a:prstGeom>
        </p:spPr>
        <p:txBody>
          <a:bodyPr anchor="ctr"/>
          <a:lstStyle>
            <a:lvl1pPr marL="0" indent="0" algn="ctr">
              <a:buNone/>
              <a:defRPr sz="1333"/>
            </a:lvl1pPr>
          </a:lstStyle>
          <a:p>
            <a:r>
              <a:rPr lang="es-ES"/>
              <a:t>Logo cliente</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4539954" y="2873081"/>
            <a:ext cx="6626810" cy="1648341"/>
          </a:xfrm>
          <a:prstGeom prst="rect">
            <a:avLst/>
          </a:prstGeom>
        </p:spPr>
        <p:txBody>
          <a:bodyPr vert="horz" lIns="0" tIns="0" rIns="0" bIns="0" rtlCol="0" anchor="t">
            <a:noAutofit/>
          </a:bodyPr>
          <a:lstStyle>
            <a:lvl1pPr>
              <a:defRPr sz="5997"/>
            </a:lvl1pPr>
          </a:lstStyle>
          <a:p>
            <a:r>
              <a:rPr lang="es-ES"/>
              <a:t>Haga clic para el título principal</a:t>
            </a:r>
            <a:endParaRPr lang="en-US"/>
          </a:p>
        </p:txBody>
      </p:sp>
    </p:spTree>
    <p:extLst>
      <p:ext uri="{BB962C8B-B14F-4D97-AF65-F5344CB8AC3E}">
        <p14:creationId xmlns:p14="http://schemas.microsoft.com/office/powerpoint/2010/main" val="184728381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 Portada foto 2">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B687104C-16D4-5049-93EC-3E0017E53BB5}"/>
              </a:ext>
            </a:extLst>
          </p:cNvPr>
          <p:cNvSpPr>
            <a:spLocks noGrp="1"/>
          </p:cNvSpPr>
          <p:nvPr>
            <p:ph type="pic" sz="quarter" idx="14"/>
          </p:nvPr>
        </p:nvSpPr>
        <p:spPr>
          <a:xfrm>
            <a:off x="0" y="0"/>
            <a:ext cx="12192000" cy="6858000"/>
          </a:xfrm>
          <a:prstGeom prst="rect">
            <a:avLst/>
          </a:prstGeom>
        </p:spPr>
        <p:txBody>
          <a:bodyPr anchor="t"/>
          <a:lstStyle>
            <a:lvl1pPr marL="0" indent="0" algn="ctr">
              <a:buNone/>
              <a:defRPr/>
            </a:lvl1pPr>
          </a:lstStyle>
          <a:p>
            <a:r>
              <a:rPr lang="es-ES"/>
              <a:t>Haga clic en el icono para agregar una imagen</a:t>
            </a:r>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1" y="3311240"/>
            <a:ext cx="4842163" cy="248041"/>
          </a:xfrm>
          <a:prstGeom prst="rect">
            <a:avLst/>
          </a:prstGeom>
        </p:spPr>
        <p:txBody>
          <a:bodyPr lIns="0" tIns="0" rIns="0" bIns="0"/>
          <a:lstStyle>
            <a:lvl1pPr marL="0" indent="0">
              <a:buNone/>
              <a:defRPr sz="1866"/>
            </a:lvl1pPr>
          </a:lstStyle>
          <a:p>
            <a:r>
              <a:rPr lang="es-ES"/>
              <a:t>Editar el subtitulo de la presentación 
</a:t>
            </a:r>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336002" y="3743044"/>
            <a:ext cx="3725333" cy="159485"/>
          </a:xfrm>
          <a:prstGeom prst="rect">
            <a:avLst/>
          </a:prstGeom>
        </p:spPr>
        <p:txBody>
          <a:bodyPr lIns="0" tIns="0" rIns="0" bIns="0"/>
          <a:lstStyle>
            <a:lvl1pPr marL="0" indent="0">
              <a:buNone/>
              <a:defRPr sz="1333"/>
            </a:lvl1pPr>
          </a:lstStyle>
          <a:p>
            <a:r>
              <a:rPr lang="es-ES"/>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336000" y="382577"/>
            <a:ext cx="1799167" cy="639233"/>
          </a:xfrm>
          <a:prstGeom prst="rect">
            <a:avLst/>
          </a:prstGeom>
        </p:spPr>
        <p:txBody>
          <a:bodyPr anchor="ctr"/>
          <a:lstStyle>
            <a:lvl1pPr marL="0" indent="0" algn="ctr">
              <a:buNone/>
              <a:defRPr sz="1333"/>
            </a:lvl1pPr>
          </a:lstStyle>
          <a:p>
            <a:r>
              <a:rPr lang="es-ES"/>
              <a:t>Logo cliente</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49675" y="1421649"/>
            <a:ext cx="7563994" cy="1648341"/>
          </a:xfrm>
          <a:prstGeom prst="rect">
            <a:avLst/>
          </a:prstGeom>
        </p:spPr>
        <p:txBody>
          <a:bodyPr vert="horz" lIns="0" tIns="0" rIns="0" bIns="0" rtlCol="0" anchor="t">
            <a:noAutofit/>
          </a:bodyPr>
          <a:lstStyle>
            <a:lvl1pPr>
              <a:defRPr sz="5330"/>
            </a:lvl1pPr>
          </a:lstStyle>
          <a:p>
            <a:r>
              <a:rPr lang="es-ES"/>
              <a:t>Haga clic para el título principal</a:t>
            </a:r>
            <a:endParaRPr lang="en-US"/>
          </a:p>
        </p:txBody>
      </p:sp>
    </p:spTree>
    <p:extLst>
      <p:ext uri="{BB962C8B-B14F-4D97-AF65-F5344CB8AC3E}">
        <p14:creationId xmlns:p14="http://schemas.microsoft.com/office/powerpoint/2010/main" val="290377435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 Portada blanca">
    <p:spTree>
      <p:nvGrpSpPr>
        <p:cNvPr id="1" name=""/>
        <p:cNvGrpSpPr/>
        <p:nvPr/>
      </p:nvGrpSpPr>
      <p:grpSpPr>
        <a:xfrm>
          <a:off x="0" y="0"/>
          <a:ext cx="0" cy="0"/>
          <a:chOff x="0" y="0"/>
          <a:chExt cx="0" cy="0"/>
        </a:xfrm>
      </p:grpSpPr>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336004" y="4414944"/>
            <a:ext cx="5651500" cy="290408"/>
          </a:xfrm>
          <a:prstGeom prst="rect">
            <a:avLst/>
          </a:prstGeom>
        </p:spPr>
        <p:txBody>
          <a:bodyPr lIns="0" tIns="0" rIns="0" bIns="0"/>
          <a:lstStyle>
            <a:lvl1pPr marL="0" indent="0">
              <a:buNone/>
              <a:defRPr sz="1800"/>
            </a:lvl1pPr>
          </a:lstStyle>
          <a:p>
            <a:r>
              <a:rPr lang="es-ES"/>
              <a:t>Editar el subtitulo de la presentación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2" y="2428697"/>
            <a:ext cx="6310745" cy="1648341"/>
          </a:xfrm>
          <a:prstGeom prst="rect">
            <a:avLst/>
          </a:prstGeom>
        </p:spPr>
        <p:txBody>
          <a:bodyPr vert="horz" lIns="0" tIns="0" rIns="0" bIns="0" rtlCol="0" anchor="t">
            <a:noAutofit/>
          </a:bodyPr>
          <a:lstStyle>
            <a:lvl1pPr>
              <a:defRPr sz="4400"/>
            </a:lvl1pPr>
          </a:lstStyle>
          <a:p>
            <a:r>
              <a:rPr lang="es-ES"/>
              <a:t>Haga clic para </a:t>
            </a:r>
            <a:br>
              <a:rPr lang="es-ES"/>
            </a:br>
            <a:r>
              <a:rPr lang="es-ES"/>
              <a:t>el título principal</a:t>
            </a:r>
            <a:endParaRPr lang="en-US"/>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336004" y="4853097"/>
            <a:ext cx="5651500" cy="199445"/>
          </a:xfrm>
          <a:prstGeom prst="rect">
            <a:avLst/>
          </a:prstGeom>
        </p:spPr>
        <p:txBody>
          <a:bodyPr lIns="0" tIns="0" rIns="0" bIns="0"/>
          <a:lstStyle>
            <a:lvl1pPr marL="0" indent="0">
              <a:buNone/>
              <a:defRPr sz="1600"/>
            </a:lvl1pPr>
          </a:lstStyle>
          <a:p>
            <a:r>
              <a:rPr lang="es-ES"/>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336000" y="986371"/>
            <a:ext cx="1799167" cy="639233"/>
          </a:xfrm>
          <a:prstGeom prst="rect">
            <a:avLst/>
          </a:prstGeom>
        </p:spPr>
        <p:txBody>
          <a:bodyPr anchor="ctr"/>
          <a:lstStyle>
            <a:lvl1pPr marL="0" indent="0" algn="ctr">
              <a:buNone/>
              <a:defRPr sz="1333"/>
            </a:lvl1pPr>
          </a:lstStyle>
          <a:p>
            <a:r>
              <a:rPr lang="es-ES"/>
              <a:t>Logo cliente</a:t>
            </a:r>
          </a:p>
        </p:txBody>
      </p:sp>
      <p:pic>
        <p:nvPicPr>
          <p:cNvPr id="7" name="Imagen 6">
            <a:extLst>
              <a:ext uri="{FF2B5EF4-FFF2-40B4-BE49-F238E27FC236}">
                <a16:creationId xmlns:a16="http://schemas.microsoft.com/office/drawing/2014/main" id="{DB9B7611-A75B-714A-9D2A-408948DB3B58}"/>
              </a:ext>
            </a:extLst>
          </p:cNvPr>
          <p:cNvPicPr>
            <a:picLocks noChangeAspect="1"/>
          </p:cNvPicPr>
          <p:nvPr userDrawn="1"/>
        </p:nvPicPr>
        <p:blipFill>
          <a:blip r:embed="rId2"/>
          <a:stretch>
            <a:fillRect/>
          </a:stretch>
        </p:blipFill>
        <p:spPr>
          <a:xfrm>
            <a:off x="8085668" y="6337302"/>
            <a:ext cx="1444604" cy="176283"/>
          </a:xfrm>
          <a:prstGeom prst="rect">
            <a:avLst/>
          </a:prstGeom>
        </p:spPr>
      </p:pic>
      <p:pic>
        <p:nvPicPr>
          <p:cNvPr id="9" name="Imagen 8">
            <a:extLst>
              <a:ext uri="{FF2B5EF4-FFF2-40B4-BE49-F238E27FC236}">
                <a16:creationId xmlns:a16="http://schemas.microsoft.com/office/drawing/2014/main" id="{57AA245C-134F-EB49-90BA-678E5983EABD}"/>
              </a:ext>
            </a:extLst>
          </p:cNvPr>
          <p:cNvPicPr>
            <a:picLocks noChangeAspect="1"/>
          </p:cNvPicPr>
          <p:nvPr userDrawn="1"/>
        </p:nvPicPr>
        <p:blipFill>
          <a:blip r:embed="rId3"/>
          <a:stretch>
            <a:fillRect/>
          </a:stretch>
        </p:blipFill>
        <p:spPr>
          <a:xfrm>
            <a:off x="385014" y="6118996"/>
            <a:ext cx="1795156" cy="356183"/>
          </a:xfrm>
          <a:prstGeom prst="rect">
            <a:avLst/>
          </a:prstGeom>
        </p:spPr>
      </p:pic>
      <p:grpSp>
        <p:nvGrpSpPr>
          <p:cNvPr id="11" name="Grupo 10">
            <a:extLst>
              <a:ext uri="{FF2B5EF4-FFF2-40B4-BE49-F238E27FC236}">
                <a16:creationId xmlns:a16="http://schemas.microsoft.com/office/drawing/2014/main" id="{72D46510-3BCB-3746-AD05-84A58DE8C86D}"/>
              </a:ext>
            </a:extLst>
          </p:cNvPr>
          <p:cNvGrpSpPr/>
          <p:nvPr userDrawn="1"/>
        </p:nvGrpSpPr>
        <p:grpSpPr>
          <a:xfrm>
            <a:off x="6846376" y="1346032"/>
            <a:ext cx="2093250" cy="3698006"/>
            <a:chOff x="4700634" y="1022350"/>
            <a:chExt cx="1569938" cy="2774950"/>
          </a:xfrm>
          <a:solidFill>
            <a:schemeClr val="accent2"/>
          </a:solidFill>
        </p:grpSpPr>
        <p:sp>
          <p:nvSpPr>
            <p:cNvPr id="12" name="Rectángulo 6">
              <a:extLst>
                <a:ext uri="{FF2B5EF4-FFF2-40B4-BE49-F238E27FC236}">
                  <a16:creationId xmlns:a16="http://schemas.microsoft.com/office/drawing/2014/main" id="{7B3603A7-D7F6-D447-AC7E-DCEDD18B5644}"/>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3" name="Rectángulo 12">
              <a:extLst>
                <a:ext uri="{FF2B5EF4-FFF2-40B4-BE49-F238E27FC236}">
                  <a16:creationId xmlns:a16="http://schemas.microsoft.com/office/drawing/2014/main" id="{DEF7F3DA-3318-B54A-A86E-1C0912576A14}"/>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4" name="Rectángulo 13">
              <a:extLst>
                <a:ext uri="{FF2B5EF4-FFF2-40B4-BE49-F238E27FC236}">
                  <a16:creationId xmlns:a16="http://schemas.microsoft.com/office/drawing/2014/main" id="{AF95EF0D-64BD-8C41-9271-7C7E67BA1752}"/>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5" name="Rectángulo 14">
              <a:extLst>
                <a:ext uri="{FF2B5EF4-FFF2-40B4-BE49-F238E27FC236}">
                  <a16:creationId xmlns:a16="http://schemas.microsoft.com/office/drawing/2014/main" id="{7C54F4E3-09F1-DA4F-AC1E-D94DC533F11F}"/>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grpSp>
      <p:grpSp>
        <p:nvGrpSpPr>
          <p:cNvPr id="16" name="Grupo 15">
            <a:extLst>
              <a:ext uri="{FF2B5EF4-FFF2-40B4-BE49-F238E27FC236}">
                <a16:creationId xmlns:a16="http://schemas.microsoft.com/office/drawing/2014/main" id="{EB2B45F2-8D32-A344-93BE-979FC74FCFB7}"/>
              </a:ext>
            </a:extLst>
          </p:cNvPr>
          <p:cNvGrpSpPr/>
          <p:nvPr userDrawn="1"/>
        </p:nvGrpSpPr>
        <p:grpSpPr>
          <a:xfrm>
            <a:off x="8154785" y="1346032"/>
            <a:ext cx="2093250" cy="3698006"/>
            <a:chOff x="4700634" y="1022350"/>
            <a:chExt cx="1569938" cy="2774950"/>
          </a:xfrm>
          <a:solidFill>
            <a:schemeClr val="tx2"/>
          </a:solidFill>
        </p:grpSpPr>
        <p:sp>
          <p:nvSpPr>
            <p:cNvPr id="17" name="Rectángulo 6">
              <a:extLst>
                <a:ext uri="{FF2B5EF4-FFF2-40B4-BE49-F238E27FC236}">
                  <a16:creationId xmlns:a16="http://schemas.microsoft.com/office/drawing/2014/main" id="{B5C53D1D-2BE8-DC4D-9686-EE7D25277B36}"/>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8" name="Rectángulo 17">
              <a:extLst>
                <a:ext uri="{FF2B5EF4-FFF2-40B4-BE49-F238E27FC236}">
                  <a16:creationId xmlns:a16="http://schemas.microsoft.com/office/drawing/2014/main" id="{F900BB0B-5327-5945-98EC-D80CC934A2A3}"/>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9" name="Rectángulo 18">
              <a:extLst>
                <a:ext uri="{FF2B5EF4-FFF2-40B4-BE49-F238E27FC236}">
                  <a16:creationId xmlns:a16="http://schemas.microsoft.com/office/drawing/2014/main" id="{B1DD8B18-64B5-4948-BB66-287B0484AF59}"/>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20" name="Rectángulo 19">
              <a:extLst>
                <a:ext uri="{FF2B5EF4-FFF2-40B4-BE49-F238E27FC236}">
                  <a16:creationId xmlns:a16="http://schemas.microsoft.com/office/drawing/2014/main" id="{D12A53A6-630E-7B4D-A7A5-8AA797881B4E}"/>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grpSp>
      <p:grpSp>
        <p:nvGrpSpPr>
          <p:cNvPr id="21" name="Grupo 20">
            <a:extLst>
              <a:ext uri="{FF2B5EF4-FFF2-40B4-BE49-F238E27FC236}">
                <a16:creationId xmlns:a16="http://schemas.microsoft.com/office/drawing/2014/main" id="{C733D58C-D2A1-9040-B07D-82C6EAEF6E32}"/>
              </a:ext>
            </a:extLst>
          </p:cNvPr>
          <p:cNvGrpSpPr/>
          <p:nvPr userDrawn="1"/>
        </p:nvGrpSpPr>
        <p:grpSpPr>
          <a:xfrm>
            <a:off x="9463196" y="1346032"/>
            <a:ext cx="2093250" cy="3698006"/>
            <a:chOff x="4700634" y="1022350"/>
            <a:chExt cx="1569938" cy="2774950"/>
          </a:xfrm>
          <a:solidFill>
            <a:schemeClr val="accent5"/>
          </a:solidFill>
        </p:grpSpPr>
        <p:sp>
          <p:nvSpPr>
            <p:cNvPr id="22" name="Rectángulo 6">
              <a:extLst>
                <a:ext uri="{FF2B5EF4-FFF2-40B4-BE49-F238E27FC236}">
                  <a16:creationId xmlns:a16="http://schemas.microsoft.com/office/drawing/2014/main" id="{D71BC356-ED41-B049-88E2-47DC0FA3C96B}"/>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23" name="Rectángulo 22">
              <a:extLst>
                <a:ext uri="{FF2B5EF4-FFF2-40B4-BE49-F238E27FC236}">
                  <a16:creationId xmlns:a16="http://schemas.microsoft.com/office/drawing/2014/main" id="{4A4DF583-F789-A147-928A-81BDEA644EAF}"/>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24" name="Rectángulo 23">
              <a:extLst>
                <a:ext uri="{FF2B5EF4-FFF2-40B4-BE49-F238E27FC236}">
                  <a16:creationId xmlns:a16="http://schemas.microsoft.com/office/drawing/2014/main" id="{BD340412-0579-1344-9B6D-DEF4DEE4960D}"/>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25" name="Rectángulo 24">
              <a:extLst>
                <a:ext uri="{FF2B5EF4-FFF2-40B4-BE49-F238E27FC236}">
                  <a16:creationId xmlns:a16="http://schemas.microsoft.com/office/drawing/2014/main" id="{44E55E4B-0109-E64B-A511-0CD7799B8CF6}"/>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grpSp>
    </p:spTree>
    <p:extLst>
      <p:ext uri="{BB962C8B-B14F-4D97-AF65-F5344CB8AC3E}">
        <p14:creationId xmlns:p14="http://schemas.microsoft.com/office/powerpoint/2010/main" val="133345427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ndice">
    <p:bg>
      <p:bgRef idx="1001">
        <a:schemeClr val="bg2"/>
      </p:bgRef>
    </p:bg>
    <p:spTree>
      <p:nvGrpSpPr>
        <p:cNvPr id="1" name=""/>
        <p:cNvGrpSpPr/>
        <p:nvPr/>
      </p:nvGrpSpPr>
      <p:grpSpPr>
        <a:xfrm>
          <a:off x="0" y="0"/>
          <a:ext cx="0" cy="0"/>
          <a:chOff x="0" y="0"/>
          <a:chExt cx="0" cy="0"/>
        </a:xfrm>
      </p:grpSpPr>
      <p:sp>
        <p:nvSpPr>
          <p:cNvPr id="7" name="Título 6"/>
          <p:cNvSpPr>
            <a:spLocks noGrp="1"/>
          </p:cNvSpPr>
          <p:nvPr>
            <p:ph type="title" hasCustomPrompt="1"/>
          </p:nvPr>
        </p:nvSpPr>
        <p:spPr>
          <a:xfrm>
            <a:off x="336000" y="645587"/>
            <a:ext cx="11017800" cy="863601"/>
          </a:xfrm>
          <a:prstGeom prst="rect">
            <a:avLst/>
          </a:prstGeom>
        </p:spPr>
        <p:txBody>
          <a:bodyPr lIns="0" tIns="0" rIns="0" bIns="0"/>
          <a:lstStyle>
            <a:lvl1pPr>
              <a:defRPr sz="2798"/>
            </a:lvl1pPr>
          </a:lstStyle>
          <a:p>
            <a:r>
              <a:rPr lang="es-ES"/>
              <a:t>Índice</a:t>
            </a:r>
          </a:p>
        </p:txBody>
      </p:sp>
      <p:sp>
        <p:nvSpPr>
          <p:cNvPr id="4" name="Forma libre 3">
            <a:extLst>
              <a:ext uri="{FF2B5EF4-FFF2-40B4-BE49-F238E27FC236}">
                <a16:creationId xmlns:a16="http://schemas.microsoft.com/office/drawing/2014/main" id="{F6C55DCE-A9B0-2243-80CD-2F30EC5EF5A4}"/>
              </a:ext>
            </a:extLst>
          </p:cNvPr>
          <p:cNvSpPr/>
          <p:nvPr userDrawn="1"/>
        </p:nvSpPr>
        <p:spPr>
          <a:xfrm>
            <a:off x="4328250" y="2232949"/>
            <a:ext cx="7939453" cy="4757592"/>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1004426 w 3575725"/>
              <a:gd name="connsiteY4" fmla="*/ 3134611 h 3139345"/>
              <a:gd name="connsiteX5" fmla="*/ 0 w 3575725"/>
              <a:gd name="connsiteY5" fmla="*/ 2126285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2606583 w 3575725"/>
              <a:gd name="connsiteY4" fmla="*/ 2141725 h 3139345"/>
              <a:gd name="connsiteX5" fmla="*/ 0 w 3575725"/>
              <a:gd name="connsiteY5" fmla="*/ 2126285 h 3139345"/>
              <a:gd name="connsiteX0" fmla="*/ 0 w 3575725"/>
              <a:gd name="connsiteY0" fmla="*/ 2126285 h 2142697"/>
              <a:gd name="connsiteX1" fmla="*/ 1945 w 3575725"/>
              <a:gd name="connsiteY1" fmla="*/ 1021080 h 2142697"/>
              <a:gd name="connsiteX2" fmla="*/ 3575725 w 3575725"/>
              <a:gd name="connsiteY2" fmla="*/ 0 h 2142697"/>
              <a:gd name="connsiteX3" fmla="*/ 3574752 w 3575725"/>
              <a:gd name="connsiteY3" fmla="*/ 2142697 h 2142697"/>
              <a:gd name="connsiteX4" fmla="*/ 2606583 w 3575725"/>
              <a:gd name="connsiteY4" fmla="*/ 2141725 h 2142697"/>
              <a:gd name="connsiteX5" fmla="*/ 0 w 3575725"/>
              <a:gd name="connsiteY5" fmla="*/ 2126285 h 214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5725" h="2142697">
                <a:moveTo>
                  <a:pt x="0" y="2126285"/>
                </a:moveTo>
                <a:cubicBezTo>
                  <a:pt x="3156" y="1423160"/>
                  <a:pt x="-1211" y="1724205"/>
                  <a:pt x="1945" y="1021080"/>
                </a:cubicBezTo>
                <a:lnTo>
                  <a:pt x="3575725" y="0"/>
                </a:lnTo>
                <a:cubicBezTo>
                  <a:pt x="3575401" y="714232"/>
                  <a:pt x="3575076" y="1428465"/>
                  <a:pt x="3574752" y="2142697"/>
                </a:cubicBezTo>
                <a:lnTo>
                  <a:pt x="2606583" y="2141725"/>
                </a:lnTo>
                <a:lnTo>
                  <a:pt x="0" y="2126285"/>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5" name="Forma libre 4">
            <a:extLst>
              <a:ext uri="{FF2B5EF4-FFF2-40B4-BE49-F238E27FC236}">
                <a16:creationId xmlns:a16="http://schemas.microsoft.com/office/drawing/2014/main" id="{00D88BD8-9E72-844D-A3E4-A145CC1FC878}"/>
              </a:ext>
            </a:extLst>
          </p:cNvPr>
          <p:cNvSpPr/>
          <p:nvPr userDrawn="1"/>
        </p:nvSpPr>
        <p:spPr>
          <a:xfrm>
            <a:off x="2796363" y="894269"/>
            <a:ext cx="7956155" cy="6096272"/>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2736231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448410 w 3583247"/>
              <a:gd name="connsiteY4" fmla="*/ 2740388 h 3139345"/>
              <a:gd name="connsiteX5" fmla="*/ 0 w 3583247"/>
              <a:gd name="connsiteY5" fmla="*/ 2736231 h 3139345"/>
              <a:gd name="connsiteX0" fmla="*/ 0 w 3583247"/>
              <a:gd name="connsiteY0" fmla="*/ 2736231 h 2740388"/>
              <a:gd name="connsiteX1" fmla="*/ 9467 w 3583247"/>
              <a:gd name="connsiteY1" fmla="*/ 1021080 h 2740388"/>
              <a:gd name="connsiteX2" fmla="*/ 3583247 w 3583247"/>
              <a:gd name="connsiteY2" fmla="*/ 0 h 2740388"/>
              <a:gd name="connsiteX3" fmla="*/ 3557394 w 3583247"/>
              <a:gd name="connsiteY3" fmla="*/ 2738082 h 2740388"/>
              <a:gd name="connsiteX4" fmla="*/ 1448410 w 3583247"/>
              <a:gd name="connsiteY4" fmla="*/ 2740388 h 2740388"/>
              <a:gd name="connsiteX5" fmla="*/ 0 w 3583247"/>
              <a:gd name="connsiteY5" fmla="*/ 2736231 h 2740388"/>
              <a:gd name="connsiteX0" fmla="*/ 0 w 3583247"/>
              <a:gd name="connsiteY0" fmla="*/ 2736231 h 2745604"/>
              <a:gd name="connsiteX1" fmla="*/ 9467 w 3583247"/>
              <a:gd name="connsiteY1" fmla="*/ 1021080 h 2745604"/>
              <a:gd name="connsiteX2" fmla="*/ 3583247 w 3583247"/>
              <a:gd name="connsiteY2" fmla="*/ 0 h 2745604"/>
              <a:gd name="connsiteX3" fmla="*/ 3579960 w 3583247"/>
              <a:gd name="connsiteY3" fmla="*/ 2745604 h 2745604"/>
              <a:gd name="connsiteX4" fmla="*/ 1448410 w 3583247"/>
              <a:gd name="connsiteY4" fmla="*/ 2740388 h 2745604"/>
              <a:gd name="connsiteX5" fmla="*/ 0 w 3583247"/>
              <a:gd name="connsiteY5" fmla="*/ 2736231 h 2745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2745604">
                <a:moveTo>
                  <a:pt x="0" y="2736231"/>
                </a:moveTo>
                <a:cubicBezTo>
                  <a:pt x="3156" y="2033106"/>
                  <a:pt x="6311" y="1724205"/>
                  <a:pt x="9467" y="1021080"/>
                </a:cubicBezTo>
                <a:lnTo>
                  <a:pt x="3583247" y="0"/>
                </a:lnTo>
                <a:cubicBezTo>
                  <a:pt x="3582151" y="915201"/>
                  <a:pt x="3581056" y="1830403"/>
                  <a:pt x="3579960" y="2745604"/>
                </a:cubicBezTo>
                <a:lnTo>
                  <a:pt x="1448410" y="2740388"/>
                </a:lnTo>
                <a:lnTo>
                  <a:pt x="0" y="2736231"/>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6" name="Forma libre 5">
            <a:extLst>
              <a:ext uri="{FF2B5EF4-FFF2-40B4-BE49-F238E27FC236}">
                <a16:creationId xmlns:a16="http://schemas.microsoft.com/office/drawing/2014/main" id="{95D2642E-B667-424F-952B-3431D2440BB5}"/>
              </a:ext>
            </a:extLst>
          </p:cNvPr>
          <p:cNvSpPr/>
          <p:nvPr userDrawn="1"/>
        </p:nvSpPr>
        <p:spPr>
          <a:xfrm>
            <a:off x="-92286" y="20016"/>
            <a:ext cx="8259460" cy="6970525"/>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3139345">
                <a:moveTo>
                  <a:pt x="0" y="3130454"/>
                </a:moveTo>
                <a:cubicBezTo>
                  <a:pt x="3156" y="2427329"/>
                  <a:pt x="6311" y="1724205"/>
                  <a:pt x="9467" y="1021080"/>
                </a:cubicBezTo>
                <a:lnTo>
                  <a:pt x="3583247" y="0"/>
                </a:lnTo>
                <a:lnTo>
                  <a:pt x="3578513" y="3139345"/>
                </a:lnTo>
                <a:lnTo>
                  <a:pt x="1011948" y="3134611"/>
                </a:lnTo>
                <a:lnTo>
                  <a:pt x="0" y="313045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9" name="Imagen 8"/>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3" name="Marcador de texto 2"/>
          <p:cNvSpPr>
            <a:spLocks noGrp="1"/>
          </p:cNvSpPr>
          <p:nvPr>
            <p:ph type="body" sz="quarter" idx="10" hasCustomPrompt="1"/>
          </p:nvPr>
        </p:nvSpPr>
        <p:spPr>
          <a:xfrm>
            <a:off x="336000" y="2444755"/>
            <a:ext cx="5760000" cy="3577167"/>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Capítulo</a:t>
            </a:r>
          </a:p>
          <a:p>
            <a:pPr lvl="0"/>
            <a:endParaRPr lang="es-ES"/>
          </a:p>
          <a:p>
            <a:pPr lvl="0"/>
            <a:endParaRPr lang="es-ES"/>
          </a:p>
        </p:txBody>
      </p:sp>
      <p:sp>
        <p:nvSpPr>
          <p:cNvPr id="10"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Tree>
    <p:extLst>
      <p:ext uri="{BB962C8B-B14F-4D97-AF65-F5344CB8AC3E}">
        <p14:creationId xmlns:p14="http://schemas.microsoft.com/office/powerpoint/2010/main" val="2622810880"/>
      </p:ext>
    </p:extLst>
  </p:cSld>
  <p:clrMapOvr>
    <a:overrideClrMapping bg1="lt1" tx1="dk1" bg2="lt2" tx2="dk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ierre">
    <p:bg>
      <p:bgPr>
        <a:solidFill>
          <a:schemeClr val="bg2"/>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404837" y="712437"/>
            <a:ext cx="7553833" cy="714581"/>
          </a:xfrm>
          <a:prstGeom prst="rect">
            <a:avLst/>
          </a:prstGeom>
        </p:spPr>
        <p:txBody>
          <a:bodyPr vert="horz" lIns="0" tIns="0" rIns="0" bIns="0" rtlCol="0" anchor="t">
            <a:noAutofit/>
          </a:bodyPr>
          <a:lstStyle>
            <a:lvl1pPr>
              <a:defRPr sz="5330" b="0" i="0">
                <a:solidFill>
                  <a:schemeClr val="tx1"/>
                </a:solidFill>
                <a:latin typeface="Playfair Display" pitchFamily="2" charset="77"/>
              </a:defRPr>
            </a:lvl1pPr>
          </a:lstStyle>
          <a:p>
            <a:r>
              <a:rPr lang="es-ES"/>
              <a:t>Gracias!</a:t>
            </a:r>
            <a:endParaRPr lang="en-US"/>
          </a:p>
        </p:txBody>
      </p:sp>
      <p:sp>
        <p:nvSpPr>
          <p:cNvPr id="3" name="Rectángulo 3">
            <a:extLst>
              <a:ext uri="{FF2B5EF4-FFF2-40B4-BE49-F238E27FC236}">
                <a16:creationId xmlns:a16="http://schemas.microsoft.com/office/drawing/2014/main" id="{A1E39811-A34B-AD46-8ACC-A06DB4D267D0}"/>
              </a:ext>
            </a:extLst>
          </p:cNvPr>
          <p:cNvSpPr/>
          <p:nvPr userDrawn="1"/>
        </p:nvSpPr>
        <p:spPr>
          <a:xfrm>
            <a:off x="7744691" y="3699164"/>
            <a:ext cx="2575779" cy="3810000"/>
          </a:xfrm>
          <a:custGeom>
            <a:avLst/>
            <a:gdLst>
              <a:gd name="connsiteX0" fmla="*/ 0 w 1569027"/>
              <a:gd name="connsiteY0" fmla="*/ 0 h 2857500"/>
              <a:gd name="connsiteX1" fmla="*/ 1569027 w 1569027"/>
              <a:gd name="connsiteY1" fmla="*/ 0 h 2857500"/>
              <a:gd name="connsiteX2" fmla="*/ 1569027 w 1569027"/>
              <a:gd name="connsiteY2" fmla="*/ 2857500 h 2857500"/>
              <a:gd name="connsiteX3" fmla="*/ 0 w 1569027"/>
              <a:gd name="connsiteY3" fmla="*/ 2857500 h 2857500"/>
              <a:gd name="connsiteX4" fmla="*/ 0 w 1569027"/>
              <a:gd name="connsiteY4" fmla="*/ 0 h 2857500"/>
              <a:gd name="connsiteX0" fmla="*/ 0 w 1569027"/>
              <a:gd name="connsiteY0" fmla="*/ 0 h 2857500"/>
              <a:gd name="connsiteX1" fmla="*/ 1558636 w 1569027"/>
              <a:gd name="connsiteY1" fmla="*/ 467591 h 2857500"/>
              <a:gd name="connsiteX2" fmla="*/ 1569027 w 1569027"/>
              <a:gd name="connsiteY2" fmla="*/ 2857500 h 2857500"/>
              <a:gd name="connsiteX3" fmla="*/ 0 w 1569027"/>
              <a:gd name="connsiteY3" fmla="*/ 2857500 h 2857500"/>
              <a:gd name="connsiteX4" fmla="*/ 0 w 1569027"/>
              <a:gd name="connsiteY4" fmla="*/ 0 h 2857500"/>
              <a:gd name="connsiteX0" fmla="*/ 0 w 1610767"/>
              <a:gd name="connsiteY0" fmla="*/ 0 h 2857500"/>
              <a:gd name="connsiteX1" fmla="*/ 1610590 w 1610767"/>
              <a:gd name="connsiteY1" fmla="*/ 477982 h 2857500"/>
              <a:gd name="connsiteX2" fmla="*/ 1569027 w 1610767"/>
              <a:gd name="connsiteY2" fmla="*/ 2857500 h 2857500"/>
              <a:gd name="connsiteX3" fmla="*/ 0 w 1610767"/>
              <a:gd name="connsiteY3" fmla="*/ 2857500 h 2857500"/>
              <a:gd name="connsiteX4" fmla="*/ 0 w 1610767"/>
              <a:gd name="connsiteY4" fmla="*/ 0 h 285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767" h="2857500">
                <a:moveTo>
                  <a:pt x="0" y="0"/>
                </a:moveTo>
                <a:lnTo>
                  <a:pt x="1610590" y="477982"/>
                </a:lnTo>
                <a:cubicBezTo>
                  <a:pt x="1614054" y="1274618"/>
                  <a:pt x="1565563" y="2060864"/>
                  <a:pt x="1569027" y="2857500"/>
                </a:cubicBezTo>
                <a:lnTo>
                  <a:pt x="0" y="285750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4" name="Rectángulo 4">
            <a:extLst>
              <a:ext uri="{FF2B5EF4-FFF2-40B4-BE49-F238E27FC236}">
                <a16:creationId xmlns:a16="http://schemas.microsoft.com/office/drawing/2014/main" id="{A3F9223B-685F-2843-9227-57F23C3FCEB4}"/>
              </a:ext>
            </a:extLst>
          </p:cNvPr>
          <p:cNvSpPr/>
          <p:nvPr userDrawn="1"/>
        </p:nvSpPr>
        <p:spPr>
          <a:xfrm>
            <a:off x="10128451" y="2715495"/>
            <a:ext cx="1010606" cy="4793673"/>
          </a:xfrm>
          <a:custGeom>
            <a:avLst/>
            <a:gdLst>
              <a:gd name="connsiteX0" fmla="*/ 0 w 985405"/>
              <a:gd name="connsiteY0" fmla="*/ 0 h 3595255"/>
              <a:gd name="connsiteX1" fmla="*/ 985405 w 985405"/>
              <a:gd name="connsiteY1" fmla="*/ 0 h 3595255"/>
              <a:gd name="connsiteX2" fmla="*/ 985405 w 985405"/>
              <a:gd name="connsiteY2" fmla="*/ 3595255 h 3595255"/>
              <a:gd name="connsiteX3" fmla="*/ 0 w 985405"/>
              <a:gd name="connsiteY3" fmla="*/ 3595255 h 3595255"/>
              <a:gd name="connsiteX4" fmla="*/ 0 w 985405"/>
              <a:gd name="connsiteY4" fmla="*/ 0 h 3595255"/>
              <a:gd name="connsiteX0" fmla="*/ 0 w 985405"/>
              <a:gd name="connsiteY0" fmla="*/ 0 h 3595255"/>
              <a:gd name="connsiteX1" fmla="*/ 985405 w 985405"/>
              <a:gd name="connsiteY1" fmla="*/ 259773 h 3595255"/>
              <a:gd name="connsiteX2" fmla="*/ 985405 w 985405"/>
              <a:gd name="connsiteY2" fmla="*/ 3595255 h 3595255"/>
              <a:gd name="connsiteX3" fmla="*/ 0 w 985405"/>
              <a:gd name="connsiteY3" fmla="*/ 3595255 h 3595255"/>
              <a:gd name="connsiteX4" fmla="*/ 0 w 985405"/>
              <a:gd name="connsiteY4" fmla="*/ 0 h 3595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5405" h="3595255">
                <a:moveTo>
                  <a:pt x="0" y="0"/>
                </a:moveTo>
                <a:lnTo>
                  <a:pt x="985405" y="259773"/>
                </a:lnTo>
                <a:lnTo>
                  <a:pt x="985405" y="3595255"/>
                </a:lnTo>
                <a:lnTo>
                  <a:pt x="0" y="359525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5" name="Rectángulo 8">
            <a:extLst>
              <a:ext uri="{FF2B5EF4-FFF2-40B4-BE49-F238E27FC236}">
                <a16:creationId xmlns:a16="http://schemas.microsoft.com/office/drawing/2014/main" id="{3E974AAD-8F9B-2E42-A5FB-13D764EAA100}"/>
              </a:ext>
            </a:extLst>
          </p:cNvPr>
          <p:cNvSpPr/>
          <p:nvPr userDrawn="1"/>
        </p:nvSpPr>
        <p:spPr>
          <a:xfrm>
            <a:off x="10992544" y="1288475"/>
            <a:ext cx="1383028" cy="6220692"/>
          </a:xfrm>
          <a:custGeom>
            <a:avLst/>
            <a:gdLst>
              <a:gd name="connsiteX0" fmla="*/ 0 w 1289338"/>
              <a:gd name="connsiteY0" fmla="*/ 0 h 4665519"/>
              <a:gd name="connsiteX1" fmla="*/ 1289338 w 1289338"/>
              <a:gd name="connsiteY1" fmla="*/ 0 h 4665519"/>
              <a:gd name="connsiteX2" fmla="*/ 1289338 w 1289338"/>
              <a:gd name="connsiteY2" fmla="*/ 4665519 h 4665519"/>
              <a:gd name="connsiteX3" fmla="*/ 0 w 1289338"/>
              <a:gd name="connsiteY3" fmla="*/ 4665519 h 4665519"/>
              <a:gd name="connsiteX4" fmla="*/ 0 w 1289338"/>
              <a:gd name="connsiteY4" fmla="*/ 0 h 4665519"/>
              <a:gd name="connsiteX0" fmla="*/ 0 w 1289338"/>
              <a:gd name="connsiteY0" fmla="*/ 0 h 4665519"/>
              <a:gd name="connsiteX1" fmla="*/ 1278947 w 1289338"/>
              <a:gd name="connsiteY1" fmla="*/ 394854 h 4665519"/>
              <a:gd name="connsiteX2" fmla="*/ 1289338 w 1289338"/>
              <a:gd name="connsiteY2" fmla="*/ 4665519 h 4665519"/>
              <a:gd name="connsiteX3" fmla="*/ 0 w 1289338"/>
              <a:gd name="connsiteY3" fmla="*/ 4665519 h 4665519"/>
              <a:gd name="connsiteX4" fmla="*/ 0 w 1289338"/>
              <a:gd name="connsiteY4" fmla="*/ 0 h 4665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338" h="4665519">
                <a:moveTo>
                  <a:pt x="0" y="0"/>
                </a:moveTo>
                <a:lnTo>
                  <a:pt x="1278947" y="394854"/>
                </a:lnTo>
                <a:cubicBezTo>
                  <a:pt x="1282411" y="1818409"/>
                  <a:pt x="1285874" y="3241964"/>
                  <a:pt x="1289338" y="4665519"/>
                </a:cubicBezTo>
                <a:lnTo>
                  <a:pt x="0" y="4665519"/>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pic>
        <p:nvPicPr>
          <p:cNvPr id="6" name="Imagen 5"/>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7" name="Freeform 5"/>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Tree>
    <p:extLst>
      <p:ext uri="{BB962C8B-B14F-4D97-AF65-F5344CB8AC3E}">
        <p14:creationId xmlns:p14="http://schemas.microsoft.com/office/powerpoint/2010/main" val="260562879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parata n1. Grafit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0" y="1592921"/>
            <a:ext cx="6951931"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5B101F9E-64AF-FC48-B2A1-F70779554AB4}"/>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27761521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parata n1. Naranja">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26E4C2C5-0D36-E34C-9E34-75AB96E1F27C}"/>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78722829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parata n1. Pie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2" y="1592921"/>
            <a:ext cx="6938076"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a:t>Nº</a:t>
            </a:r>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1A3B47"/>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1A3B47"/>
              </a:solidFill>
              <a:effectLst/>
              <a:uLnTx/>
              <a:uFillTx/>
              <a:latin typeface="Soho Gothic Pro" panose="020B0503030504020204" pitchFamily="34" charset="77"/>
              <a:ea typeface="+mn-ea"/>
              <a:cs typeface="+mn-cs"/>
            </a:endParaRPr>
          </a:p>
        </p:txBody>
      </p:sp>
      <p:pic>
        <p:nvPicPr>
          <p:cNvPr id="15" name="Imagen 14"/>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1" name="Freeform 5">
            <a:extLst>
              <a:ext uri="{FF2B5EF4-FFF2-40B4-BE49-F238E27FC236}">
                <a16:creationId xmlns:a16="http://schemas.microsoft.com/office/drawing/2014/main" id="{78611A90-5661-7849-85C4-60F38E37590D}"/>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228510491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parata n1. Amarill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a:t>Nº</a:t>
            </a:r>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1A3B47"/>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1A3B47"/>
              </a:solidFill>
              <a:effectLst/>
              <a:uLnTx/>
              <a:uFillTx/>
              <a:latin typeface="Soho Gothic Pro" panose="020B0503030504020204" pitchFamily="34" charset="77"/>
              <a:ea typeface="+mn-ea"/>
              <a:cs typeface="+mn-cs"/>
            </a:endParaRPr>
          </a:p>
        </p:txBody>
      </p:sp>
      <p:pic>
        <p:nvPicPr>
          <p:cNvPr id="15" name="Imagen 14"/>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11" name="Freeform 5">
            <a:extLst>
              <a:ext uri="{FF2B5EF4-FFF2-40B4-BE49-F238E27FC236}">
                <a16:creationId xmlns:a16="http://schemas.microsoft.com/office/drawing/2014/main" id="{57625A35-6F69-D543-BA04-C64550EF3B02}"/>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272500434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Separata n1. Naranja">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26E4C2C5-0D36-E34C-9E34-75AB96E1F27C}"/>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78722829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Separata n1. Roj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52231655-E814-554D-A77B-76AE9E4B8F36}"/>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187375944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_Separata n1. Verde">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A23CE7FB-CF5A-CA42-B78E-69EC6A848FB0}"/>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34867971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Separata n1. Azu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881361F9-92A8-6949-BEF9-77B573EB2B51}"/>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223640237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5_Separata n1. Morad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7457440" y="40640"/>
            <a:ext cx="478536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5" y="1592921"/>
            <a:ext cx="7052606"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1</a:t>
            </a:r>
            <a:endParaRPr lang="en-US"/>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8081435" y="1503240"/>
            <a:ext cx="3734647" cy="2021839"/>
          </a:xfrm>
          <a:prstGeom prst="rect">
            <a:avLst/>
          </a:prstGeom>
        </p:spPr>
        <p:txBody>
          <a:bodyPr/>
          <a:lstStyle>
            <a:lvl1pPr marL="0" indent="0" algn="ctr">
              <a:buNone/>
              <a:defRPr sz="15991">
                <a:solidFill>
                  <a:schemeClr val="bg1"/>
                </a:solidFill>
                <a:latin typeface="Playfair Display" pitchFamily="2" charset="77"/>
              </a:defRPr>
            </a:lvl1pPr>
          </a:lstStyle>
          <a:p>
            <a:r>
              <a:rPr lang="es-ES"/>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5" name="Imagen 14"/>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74E9E540-B7BF-4344-8072-B7008201BE20}"/>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2"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388001583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para n2_Grafit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FFFFFF"/>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FFFFFF"/>
              </a:solidFill>
              <a:effectLst/>
              <a:uLnTx/>
              <a:uFillTx/>
              <a:latin typeface="Soho Gothic Pro" panose="020B0503030504020204" pitchFamily="34" charset="77"/>
              <a:ea typeface="+mn-ea"/>
              <a:cs typeface="+mn-cs"/>
            </a:endParaRPr>
          </a:p>
        </p:txBody>
      </p:sp>
      <p:pic>
        <p:nvPicPr>
          <p:cNvPr id="14" name="Imagen 13"/>
          <p:cNvPicPr>
            <a:picLocks noChangeAspect="1"/>
          </p:cNvPicPr>
          <p:nvPr userDrawn="1"/>
        </p:nvPicPr>
        <p:blipFill>
          <a:blip r:embed="rId2">
            <a:lum bright="100000" contrast="-70000"/>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760C3CE1-1E28-6546-9D6D-A09B9CDA1994}"/>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349609315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para n2_Piel">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1A3B47"/>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1A3B47"/>
              </a:solidFill>
              <a:effectLst/>
              <a:uLnTx/>
              <a:uFillTx/>
              <a:latin typeface="Soho Gothic Pro" panose="020B0503030504020204" pitchFamily="34" charset="77"/>
              <a:ea typeface="+mn-ea"/>
              <a:cs typeface="+mn-cs"/>
            </a:endParaRPr>
          </a:p>
        </p:txBody>
      </p:sp>
      <p:pic>
        <p:nvPicPr>
          <p:cNvPr id="14" name="Imagen 13"/>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DEC9B28E-6B7A-0E4E-B90F-9C217C75299E}"/>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336467901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para n1_Amarill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8633460" y="3190461"/>
            <a:ext cx="3839167"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6154656" y="3533835"/>
            <a:ext cx="6451367"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7647938" y="3750358"/>
            <a:ext cx="476504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FFFFFF"/>
              </a:solidFill>
              <a:effectLst/>
              <a:uLnTx/>
              <a:uFillTx/>
              <a:latin typeface="Soho Gothic Pro Light"/>
              <a:ea typeface="+mn-ea"/>
              <a:cs typeface="+mn-cs"/>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36004" y="1592921"/>
            <a:ext cx="7553833" cy="1648341"/>
          </a:xfrm>
          <a:prstGeom prst="rect">
            <a:avLst/>
          </a:prstGeom>
        </p:spPr>
        <p:txBody>
          <a:bodyPr vert="horz" lIns="0" tIns="0" rIns="0" bIns="0" rtlCol="0" anchor="t">
            <a:noAutofit/>
          </a:bodyPr>
          <a:lstStyle>
            <a:lvl1pPr>
              <a:defRPr sz="4000">
                <a:solidFill>
                  <a:schemeClr val="tx1"/>
                </a:solidFill>
              </a:defRPr>
            </a:lvl1pPr>
          </a:lstStyle>
          <a:p>
            <a:r>
              <a:rPr lang="es-ES"/>
              <a:t>Haga clic para título separata de nivel 2</a:t>
            </a:r>
            <a:endParaRPr lang="en-US"/>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11472598" y="6501346"/>
            <a:ext cx="382853"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6" b="0" i="0" u="none" strike="noStrike" kern="1200" cap="none" spc="0" normalizeH="0" baseline="0" noProof="0" smtClean="0">
                <a:ln>
                  <a:noFill/>
                </a:ln>
                <a:solidFill>
                  <a:srgbClr val="1A3B47"/>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a:t>
            </a:fld>
            <a:endParaRPr kumimoji="0" lang="es-ES" sz="1066" b="0" i="0" u="none" strike="noStrike" kern="1200" cap="none" spc="0" normalizeH="0" baseline="0" noProof="0">
              <a:ln>
                <a:noFill/>
              </a:ln>
              <a:solidFill>
                <a:srgbClr val="1A3B47"/>
              </a:solidFill>
              <a:effectLst/>
              <a:uLnTx/>
              <a:uFillTx/>
              <a:latin typeface="Soho Gothic Pro" panose="020B0503030504020204" pitchFamily="34" charset="77"/>
              <a:ea typeface="+mn-ea"/>
              <a:cs typeface="+mn-cs"/>
            </a:endParaRPr>
          </a:p>
        </p:txBody>
      </p:sp>
      <p:pic>
        <p:nvPicPr>
          <p:cNvPr id="15" name="Imagen 14"/>
          <p:cNvPicPr>
            <a:picLocks noChangeAspect="1"/>
          </p:cNvPicPr>
          <p:nvPr userDrawn="1"/>
        </p:nvPicPr>
        <p:blipFill>
          <a:blip r:embed="rId2">
            <a:lum/>
          </a:blip>
          <a:stretch>
            <a:fillRect/>
          </a:stretch>
        </p:blipFill>
        <p:spPr>
          <a:xfrm>
            <a:off x="8887258" y="6540533"/>
            <a:ext cx="1145182" cy="248840"/>
          </a:xfrm>
          <a:prstGeom prst="rect">
            <a:avLst/>
          </a:prstGeom>
        </p:spPr>
      </p:pic>
      <p:sp>
        <p:nvSpPr>
          <p:cNvPr id="9" name="Freeform 5">
            <a:extLst>
              <a:ext uri="{FF2B5EF4-FFF2-40B4-BE49-F238E27FC236}">
                <a16:creationId xmlns:a16="http://schemas.microsoft.com/office/drawing/2014/main" id="{59D1119D-7D51-D44F-94AB-E6DA2AD81F78}"/>
              </a:ext>
            </a:extLst>
          </p:cNvPr>
          <p:cNvSpPr>
            <a:spLocks noEditPoints="1"/>
          </p:cNvSpPr>
          <p:nvPr userDrawn="1"/>
        </p:nvSpPr>
        <p:spPr bwMode="auto">
          <a:xfrm>
            <a:off x="336000" y="6506083"/>
            <a:ext cx="858184" cy="171408"/>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121857" tIns="60928" rIns="121857" bIns="60928" numCol="1" anchor="t" anchorCtr="0" compatLnSpc="1">
            <a:prstTxWarp prst="textNoShape">
              <a:avLst/>
            </a:prstTxWarp>
          </a:bodyPr>
          <a:lstStyle/>
          <a:p>
            <a:pPr marL="0" marR="0" lvl="0" indent="0" algn="l" defTabSz="913790" rtl="0" eaLnBrk="1" fontAlgn="auto" latinLnBrk="0" hangingPunct="1">
              <a:lnSpc>
                <a:spcPct val="100000"/>
              </a:lnSpc>
              <a:spcBef>
                <a:spcPts val="0"/>
              </a:spcBef>
              <a:spcAft>
                <a:spcPts val="0"/>
              </a:spcAft>
              <a:buClrTx/>
              <a:buSzTx/>
              <a:buFontTx/>
              <a:buNone/>
              <a:tabLst/>
              <a:defRPr/>
            </a:pPr>
            <a:endParaRPr kumimoji="0" lang="es-ES" sz="2397" b="0" i="0" u="none" strike="noStrike" kern="1200" cap="none" spc="0" normalizeH="0" baseline="0" noProof="0">
              <a:ln>
                <a:noFill/>
              </a:ln>
              <a:solidFill>
                <a:srgbClr val="1A3B47"/>
              </a:solidFill>
              <a:effectLst/>
              <a:uLnTx/>
              <a:uFillTx/>
              <a:latin typeface="Soho Gothic Pro Light"/>
              <a:ea typeface="+mn-ea"/>
              <a:cs typeface="+mn-cs"/>
            </a:endParaRPr>
          </a:p>
        </p:txBody>
      </p:sp>
      <p:sp>
        <p:nvSpPr>
          <p:cNvPr id="11" name="Marcador de texto 2"/>
          <p:cNvSpPr>
            <a:spLocks noGrp="1"/>
          </p:cNvSpPr>
          <p:nvPr>
            <p:ph type="body" sz="quarter" idx="12" hasCustomPrompt="1"/>
          </p:nvPr>
        </p:nvSpPr>
        <p:spPr>
          <a:xfrm>
            <a:off x="336000" y="3770676"/>
            <a:ext cx="5760000" cy="2634888"/>
          </a:xfrm>
          <a:prstGeom prst="rect">
            <a:avLst/>
          </a:prstGeom>
        </p:spPr>
        <p:txBody>
          <a:bodyPr lIns="0" tIns="0" rIns="0" bIns="0"/>
          <a:lstStyle>
            <a:lvl1pPr marL="0" indent="0">
              <a:lnSpc>
                <a:spcPct val="100000"/>
              </a:lnSpc>
              <a:spcBef>
                <a:spcPts val="800"/>
              </a:spcBef>
              <a:buNone/>
              <a:defRPr sz="1600"/>
            </a:lvl1pPr>
            <a:lvl2pPr marL="456949" indent="0">
              <a:buNone/>
              <a:defRPr/>
            </a:lvl2pPr>
            <a:lvl3pPr marL="913897" indent="0">
              <a:buNone/>
              <a:defRPr/>
            </a:lvl3pPr>
            <a:lvl4pPr marL="1370846" indent="0">
              <a:buNone/>
              <a:defRPr/>
            </a:lvl4pPr>
            <a:lvl5pPr marL="1827794" indent="0">
              <a:buNone/>
              <a:defRPr/>
            </a:lvl5pPr>
          </a:lstStyle>
          <a:p>
            <a:pPr lvl="0"/>
            <a:r>
              <a:rPr lang="es-ES"/>
              <a:t>Editar el subtitulo</a:t>
            </a:r>
          </a:p>
          <a:p>
            <a:pPr lvl="0"/>
            <a:endParaRPr lang="es-ES"/>
          </a:p>
          <a:p>
            <a:pPr lvl="0"/>
            <a:endParaRPr lang="es-ES"/>
          </a:p>
        </p:txBody>
      </p:sp>
    </p:spTree>
    <p:extLst>
      <p:ext uri="{BB962C8B-B14F-4D97-AF65-F5344CB8AC3E}">
        <p14:creationId xmlns:p14="http://schemas.microsoft.com/office/powerpoint/2010/main" val="1060957772"/>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theme" Target="../theme/theme1.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9" Type="http://schemas.openxmlformats.org/officeDocument/2006/relationships/slideLayout" Target="../slideLayouts/slideLayout122.xml"/><Relationship Id="rId21" Type="http://schemas.openxmlformats.org/officeDocument/2006/relationships/slideLayout" Target="../slideLayouts/slideLayout104.xml"/><Relationship Id="rId34" Type="http://schemas.openxmlformats.org/officeDocument/2006/relationships/slideLayout" Target="../slideLayouts/slideLayout117.xml"/><Relationship Id="rId42" Type="http://schemas.openxmlformats.org/officeDocument/2006/relationships/slideLayout" Target="../slideLayouts/slideLayout125.xml"/><Relationship Id="rId7" Type="http://schemas.openxmlformats.org/officeDocument/2006/relationships/slideLayout" Target="../slideLayouts/slideLayout90.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29" Type="http://schemas.openxmlformats.org/officeDocument/2006/relationships/slideLayout" Target="../slideLayouts/slideLayout112.xml"/><Relationship Id="rId41" Type="http://schemas.openxmlformats.org/officeDocument/2006/relationships/slideLayout" Target="../slideLayouts/slideLayout124.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32" Type="http://schemas.openxmlformats.org/officeDocument/2006/relationships/slideLayout" Target="../slideLayouts/slideLayout115.xml"/><Relationship Id="rId37" Type="http://schemas.openxmlformats.org/officeDocument/2006/relationships/slideLayout" Target="../slideLayouts/slideLayout120.xml"/><Relationship Id="rId40" Type="http://schemas.openxmlformats.org/officeDocument/2006/relationships/slideLayout" Target="../slideLayouts/slideLayout123.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36" Type="http://schemas.openxmlformats.org/officeDocument/2006/relationships/slideLayout" Target="../slideLayouts/slideLayout119.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slideLayout" Target="../slideLayouts/slideLayout114.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slideLayout" Target="../slideLayouts/slideLayout113.xml"/><Relationship Id="rId35" Type="http://schemas.openxmlformats.org/officeDocument/2006/relationships/slideLayout" Target="../slideLayouts/slideLayout118.xml"/><Relationship Id="rId43" Type="http://schemas.openxmlformats.org/officeDocument/2006/relationships/theme" Target="../theme/theme2.xml"/><Relationship Id="rId8" Type="http://schemas.openxmlformats.org/officeDocument/2006/relationships/slideLayout" Target="../slideLayouts/slideLayout91.xml"/><Relationship Id="rId3" Type="http://schemas.openxmlformats.org/officeDocument/2006/relationships/slideLayout" Target="../slideLayouts/slideLayout86.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33" Type="http://schemas.openxmlformats.org/officeDocument/2006/relationships/slideLayout" Target="../slideLayouts/slideLayout116.xml"/><Relationship Id="rId38" Type="http://schemas.openxmlformats.org/officeDocument/2006/relationships/slideLayout" Target="../slideLayouts/slideLayout1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6787546"/>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 id="2147483865" r:id="rId12"/>
    <p:sldLayoutId id="2147483866" r:id="rId13"/>
    <p:sldLayoutId id="2147483867" r:id="rId14"/>
    <p:sldLayoutId id="2147483868" r:id="rId15"/>
    <p:sldLayoutId id="2147483869" r:id="rId16"/>
    <p:sldLayoutId id="2147483870" r:id="rId17"/>
    <p:sldLayoutId id="2147483871" r:id="rId18"/>
    <p:sldLayoutId id="2147483872" r:id="rId19"/>
    <p:sldLayoutId id="2147483873" r:id="rId20"/>
    <p:sldLayoutId id="2147483874" r:id="rId21"/>
    <p:sldLayoutId id="2147483875" r:id="rId22"/>
    <p:sldLayoutId id="2147483876" r:id="rId23"/>
    <p:sldLayoutId id="2147483877" r:id="rId24"/>
    <p:sldLayoutId id="2147483878" r:id="rId25"/>
    <p:sldLayoutId id="2147483879" r:id="rId26"/>
    <p:sldLayoutId id="2147483880" r:id="rId27"/>
    <p:sldLayoutId id="2147483881" r:id="rId28"/>
    <p:sldLayoutId id="2147483882" r:id="rId29"/>
    <p:sldLayoutId id="2147483883" r:id="rId30"/>
    <p:sldLayoutId id="2147483884" r:id="rId31"/>
    <p:sldLayoutId id="2147483885" r:id="rId32"/>
    <p:sldLayoutId id="2147483886" r:id="rId33"/>
    <p:sldLayoutId id="2147483887" r:id="rId34"/>
    <p:sldLayoutId id="2147483888" r:id="rId35"/>
    <p:sldLayoutId id="2147483889" r:id="rId36"/>
    <p:sldLayoutId id="2147483890" r:id="rId37"/>
    <p:sldLayoutId id="2147483891" r:id="rId38"/>
    <p:sldLayoutId id="2147483892" r:id="rId39"/>
    <p:sldLayoutId id="2147483893" r:id="rId40"/>
    <p:sldLayoutId id="2147483894" r:id="rId41"/>
    <p:sldLayoutId id="2147483895" r:id="rId42"/>
    <p:sldLayoutId id="2147483726" r:id="rId43"/>
    <p:sldLayoutId id="2147483798" r:id="rId44"/>
    <p:sldLayoutId id="2147483771" r:id="rId45"/>
    <p:sldLayoutId id="2147483748" r:id="rId46"/>
    <p:sldLayoutId id="2147483749" r:id="rId47"/>
    <p:sldLayoutId id="2147483735" r:id="rId48"/>
    <p:sldLayoutId id="2147483736" r:id="rId49"/>
    <p:sldLayoutId id="2147483737" r:id="rId50"/>
    <p:sldLayoutId id="2147483738" r:id="rId51"/>
    <p:sldLayoutId id="2147483739" r:id="rId52"/>
    <p:sldLayoutId id="2147483740" r:id="rId53"/>
    <p:sldLayoutId id="2147483751" r:id="rId54"/>
    <p:sldLayoutId id="2147483752" r:id="rId55"/>
    <p:sldLayoutId id="2147483753" r:id="rId56"/>
    <p:sldLayoutId id="2147483754" r:id="rId57"/>
    <p:sldLayoutId id="2147483755" r:id="rId58"/>
    <p:sldLayoutId id="2147483756" r:id="rId59"/>
    <p:sldLayoutId id="2147483757" r:id="rId60"/>
    <p:sldLayoutId id="2147483758" r:id="rId61"/>
    <p:sldLayoutId id="2147483746" r:id="rId62"/>
    <p:sldLayoutId id="2147483760" r:id="rId63"/>
    <p:sldLayoutId id="2147483761" r:id="rId64"/>
    <p:sldLayoutId id="2147483762" r:id="rId65"/>
    <p:sldLayoutId id="2147483763" r:id="rId66"/>
    <p:sldLayoutId id="2147483764" r:id="rId67"/>
    <p:sldLayoutId id="2147483765" r:id="rId68"/>
    <p:sldLayoutId id="2147483766" r:id="rId69"/>
    <p:sldLayoutId id="2147483767" r:id="rId70"/>
    <p:sldLayoutId id="2147483678" r:id="rId71"/>
    <p:sldLayoutId id="2147483790" r:id="rId72"/>
    <p:sldLayoutId id="2147483669" r:id="rId73"/>
    <p:sldLayoutId id="2147483789" r:id="rId74"/>
    <p:sldLayoutId id="2147483685" r:id="rId75"/>
    <p:sldLayoutId id="2147483792" r:id="rId76"/>
    <p:sldLayoutId id="2147483693" r:id="rId77"/>
    <p:sldLayoutId id="2147483793" r:id="rId78"/>
    <p:sldLayoutId id="2147483701" r:id="rId79"/>
    <p:sldLayoutId id="2147483794" r:id="rId80"/>
    <p:sldLayoutId id="2147483785" r:id="rId81"/>
    <p:sldLayoutId id="2147483795" r:id="rId82"/>
    <p:sldLayoutId id="2147483788" r:id="rId83"/>
  </p:sldLayoutIdLst>
  <p:hf hdr="0" ftr="0" dt="0"/>
  <p:txStyles>
    <p:titleStyle>
      <a:lvl1pPr algn="l" defTabSz="913897" rtl="0" eaLnBrk="1" latinLnBrk="0" hangingPunct="1">
        <a:lnSpc>
          <a:spcPct val="90000"/>
        </a:lnSpc>
        <a:spcBef>
          <a:spcPct val="0"/>
        </a:spcBef>
        <a:buNone/>
        <a:defRPr sz="4664" kern="1200">
          <a:solidFill>
            <a:schemeClr val="tx1"/>
          </a:solidFill>
          <a:latin typeface="Playfair Display" pitchFamily="2" charset="77"/>
          <a:ea typeface="+mj-ea"/>
          <a:cs typeface="+mj-cs"/>
        </a:defRPr>
      </a:lvl1pPr>
    </p:titleStyle>
    <p:bodyStyle>
      <a:lvl1pPr marL="228474" indent="-228474" algn="l" defTabSz="913897" rtl="0" eaLnBrk="1" latinLnBrk="0" hangingPunct="1">
        <a:lnSpc>
          <a:spcPct val="90000"/>
        </a:lnSpc>
        <a:spcBef>
          <a:spcPts val="999"/>
        </a:spcBef>
        <a:buFont typeface="Arial" panose="020B0604020202020204" pitchFamily="34" charset="0"/>
        <a:buChar char="•"/>
        <a:defRPr sz="1999" b="0" i="0" kern="1200">
          <a:solidFill>
            <a:schemeClr val="tx1"/>
          </a:solidFill>
          <a:latin typeface="Soho Gothic Pro Light" panose="020B0303030504020204" pitchFamily="34" charset="77"/>
          <a:ea typeface="+mn-ea"/>
          <a:cs typeface="+mn-cs"/>
        </a:defRPr>
      </a:lvl1pPr>
      <a:lvl2pPr marL="685423" indent="-228474" algn="l" defTabSz="913897"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371" indent="-228474" algn="l" defTabSz="913897"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320"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268"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217"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166"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114"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063"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897" rtl="0" eaLnBrk="1" latinLnBrk="0" hangingPunct="1">
        <a:defRPr sz="1799" kern="1200">
          <a:solidFill>
            <a:schemeClr val="tx1"/>
          </a:solidFill>
          <a:latin typeface="+mn-lt"/>
          <a:ea typeface="+mn-ea"/>
          <a:cs typeface="+mn-cs"/>
        </a:defRPr>
      </a:lvl1pPr>
      <a:lvl2pPr marL="456949" algn="l" defTabSz="913897" rtl="0" eaLnBrk="1" latinLnBrk="0" hangingPunct="1">
        <a:defRPr sz="1799" kern="1200">
          <a:solidFill>
            <a:schemeClr val="tx1"/>
          </a:solidFill>
          <a:latin typeface="+mn-lt"/>
          <a:ea typeface="+mn-ea"/>
          <a:cs typeface="+mn-cs"/>
        </a:defRPr>
      </a:lvl2pPr>
      <a:lvl3pPr marL="913897" algn="l" defTabSz="913897" rtl="0" eaLnBrk="1" latinLnBrk="0" hangingPunct="1">
        <a:defRPr sz="1799" kern="1200">
          <a:solidFill>
            <a:schemeClr val="tx1"/>
          </a:solidFill>
          <a:latin typeface="+mn-lt"/>
          <a:ea typeface="+mn-ea"/>
          <a:cs typeface="+mn-cs"/>
        </a:defRPr>
      </a:lvl3pPr>
      <a:lvl4pPr marL="1370846" algn="l" defTabSz="913897" rtl="0" eaLnBrk="1" latinLnBrk="0" hangingPunct="1">
        <a:defRPr sz="1799" kern="1200">
          <a:solidFill>
            <a:schemeClr val="tx1"/>
          </a:solidFill>
          <a:latin typeface="+mn-lt"/>
          <a:ea typeface="+mn-ea"/>
          <a:cs typeface="+mn-cs"/>
        </a:defRPr>
      </a:lvl4pPr>
      <a:lvl5pPr marL="1827794" algn="l" defTabSz="913897" rtl="0" eaLnBrk="1" latinLnBrk="0" hangingPunct="1">
        <a:defRPr sz="1799" kern="1200">
          <a:solidFill>
            <a:schemeClr val="tx1"/>
          </a:solidFill>
          <a:latin typeface="+mn-lt"/>
          <a:ea typeface="+mn-ea"/>
          <a:cs typeface="+mn-cs"/>
        </a:defRPr>
      </a:lvl5pPr>
      <a:lvl6pPr marL="2284743" algn="l" defTabSz="913897" rtl="0" eaLnBrk="1" latinLnBrk="0" hangingPunct="1">
        <a:defRPr sz="1799" kern="1200">
          <a:solidFill>
            <a:schemeClr val="tx1"/>
          </a:solidFill>
          <a:latin typeface="+mn-lt"/>
          <a:ea typeface="+mn-ea"/>
          <a:cs typeface="+mn-cs"/>
        </a:defRPr>
      </a:lvl6pPr>
      <a:lvl7pPr marL="2741691" algn="l" defTabSz="913897" rtl="0" eaLnBrk="1" latinLnBrk="0" hangingPunct="1">
        <a:defRPr sz="1799" kern="1200">
          <a:solidFill>
            <a:schemeClr val="tx1"/>
          </a:solidFill>
          <a:latin typeface="+mn-lt"/>
          <a:ea typeface="+mn-ea"/>
          <a:cs typeface="+mn-cs"/>
        </a:defRPr>
      </a:lvl7pPr>
      <a:lvl8pPr marL="3198640" algn="l" defTabSz="913897" rtl="0" eaLnBrk="1" latinLnBrk="0" hangingPunct="1">
        <a:defRPr sz="1799" kern="1200">
          <a:solidFill>
            <a:schemeClr val="tx1"/>
          </a:solidFill>
          <a:latin typeface="+mn-lt"/>
          <a:ea typeface="+mn-ea"/>
          <a:cs typeface="+mn-cs"/>
        </a:defRPr>
      </a:lvl8pPr>
      <a:lvl9pPr marL="3655588" algn="l" defTabSz="913897"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25" userDrawn="1">
          <p15:clr>
            <a:srgbClr val="F26B43"/>
          </p15:clr>
        </p15:guide>
        <p15:guide id="4" orient="horz" pos="4035" userDrawn="1">
          <p15:clr>
            <a:srgbClr val="F26B43"/>
          </p15:clr>
        </p15:guide>
        <p15:guide id="6" pos="3840" userDrawn="1">
          <p15:clr>
            <a:srgbClr val="F26B43"/>
          </p15:clr>
        </p15:guide>
        <p15:guide id="10" pos="7469" userDrawn="1">
          <p15:clr>
            <a:srgbClr val="F26B43"/>
          </p15:clr>
        </p15:guide>
        <p15:guide id="15" pos="212" userDrawn="1">
          <p15:clr>
            <a:srgbClr val="F26B43"/>
          </p15:clr>
        </p15:guide>
        <p15:guide id="17" orient="horz" pos="769" userDrawn="1">
          <p15:clr>
            <a:srgbClr val="F26B43"/>
          </p15:clr>
        </p15:guide>
        <p15:guide id="18" orient="horz" pos="361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7487744"/>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 id="2147483835" r:id="rId22"/>
    <p:sldLayoutId id="2147483836" r:id="rId23"/>
    <p:sldLayoutId id="2147483837" r:id="rId24"/>
    <p:sldLayoutId id="2147483838" r:id="rId25"/>
    <p:sldLayoutId id="2147483839" r:id="rId26"/>
    <p:sldLayoutId id="2147483840" r:id="rId27"/>
    <p:sldLayoutId id="2147483841" r:id="rId28"/>
    <p:sldLayoutId id="2147483842" r:id="rId29"/>
    <p:sldLayoutId id="2147483843" r:id="rId30"/>
    <p:sldLayoutId id="2147483844" r:id="rId31"/>
    <p:sldLayoutId id="2147483845" r:id="rId32"/>
    <p:sldLayoutId id="2147483846" r:id="rId33"/>
    <p:sldLayoutId id="2147483847" r:id="rId34"/>
    <p:sldLayoutId id="2147483848" r:id="rId35"/>
    <p:sldLayoutId id="2147483849" r:id="rId36"/>
    <p:sldLayoutId id="2147483850" r:id="rId37"/>
    <p:sldLayoutId id="2147483851" r:id="rId38"/>
    <p:sldLayoutId id="2147483852" r:id="rId39"/>
    <p:sldLayoutId id="2147483853" r:id="rId40"/>
    <p:sldLayoutId id="2147483854" r:id="rId41"/>
    <p:sldLayoutId id="2147483855" r:id="rId42"/>
  </p:sldLayoutIdLst>
  <p:hf hdr="0" ftr="0" dt="0"/>
  <p:txStyles>
    <p:titleStyle>
      <a:lvl1pPr algn="l" defTabSz="913897" rtl="0" eaLnBrk="1" latinLnBrk="0" hangingPunct="1">
        <a:lnSpc>
          <a:spcPct val="90000"/>
        </a:lnSpc>
        <a:spcBef>
          <a:spcPct val="0"/>
        </a:spcBef>
        <a:buNone/>
        <a:defRPr sz="4664" kern="1200">
          <a:solidFill>
            <a:schemeClr val="tx1"/>
          </a:solidFill>
          <a:latin typeface="Playfair Display" pitchFamily="2" charset="77"/>
          <a:ea typeface="+mj-ea"/>
          <a:cs typeface="+mj-cs"/>
        </a:defRPr>
      </a:lvl1pPr>
    </p:titleStyle>
    <p:bodyStyle>
      <a:lvl1pPr marL="228474" indent="-228474" algn="l" defTabSz="913897" rtl="0" eaLnBrk="1" latinLnBrk="0" hangingPunct="1">
        <a:lnSpc>
          <a:spcPct val="90000"/>
        </a:lnSpc>
        <a:spcBef>
          <a:spcPts val="999"/>
        </a:spcBef>
        <a:buFont typeface="Arial" panose="020B0604020202020204" pitchFamily="34" charset="0"/>
        <a:buChar char="•"/>
        <a:defRPr sz="1999" b="0" i="0" kern="1200">
          <a:solidFill>
            <a:schemeClr val="tx1"/>
          </a:solidFill>
          <a:latin typeface="Soho Gothic Pro Light" panose="020B0303030504020204" pitchFamily="34" charset="77"/>
          <a:ea typeface="+mn-ea"/>
          <a:cs typeface="+mn-cs"/>
        </a:defRPr>
      </a:lvl1pPr>
      <a:lvl2pPr marL="685423" indent="-228474" algn="l" defTabSz="913897"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371" indent="-228474" algn="l" defTabSz="913897"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320"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268"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217"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166"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114"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063"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897" rtl="0" eaLnBrk="1" latinLnBrk="0" hangingPunct="1">
        <a:defRPr sz="1799" kern="1200">
          <a:solidFill>
            <a:schemeClr val="tx1"/>
          </a:solidFill>
          <a:latin typeface="+mn-lt"/>
          <a:ea typeface="+mn-ea"/>
          <a:cs typeface="+mn-cs"/>
        </a:defRPr>
      </a:lvl1pPr>
      <a:lvl2pPr marL="456949" algn="l" defTabSz="913897" rtl="0" eaLnBrk="1" latinLnBrk="0" hangingPunct="1">
        <a:defRPr sz="1799" kern="1200">
          <a:solidFill>
            <a:schemeClr val="tx1"/>
          </a:solidFill>
          <a:latin typeface="+mn-lt"/>
          <a:ea typeface="+mn-ea"/>
          <a:cs typeface="+mn-cs"/>
        </a:defRPr>
      </a:lvl2pPr>
      <a:lvl3pPr marL="913897" algn="l" defTabSz="913897" rtl="0" eaLnBrk="1" latinLnBrk="0" hangingPunct="1">
        <a:defRPr sz="1799" kern="1200">
          <a:solidFill>
            <a:schemeClr val="tx1"/>
          </a:solidFill>
          <a:latin typeface="+mn-lt"/>
          <a:ea typeface="+mn-ea"/>
          <a:cs typeface="+mn-cs"/>
        </a:defRPr>
      </a:lvl3pPr>
      <a:lvl4pPr marL="1370846" algn="l" defTabSz="913897" rtl="0" eaLnBrk="1" latinLnBrk="0" hangingPunct="1">
        <a:defRPr sz="1799" kern="1200">
          <a:solidFill>
            <a:schemeClr val="tx1"/>
          </a:solidFill>
          <a:latin typeface="+mn-lt"/>
          <a:ea typeface="+mn-ea"/>
          <a:cs typeface="+mn-cs"/>
        </a:defRPr>
      </a:lvl4pPr>
      <a:lvl5pPr marL="1827794" algn="l" defTabSz="913897" rtl="0" eaLnBrk="1" latinLnBrk="0" hangingPunct="1">
        <a:defRPr sz="1799" kern="1200">
          <a:solidFill>
            <a:schemeClr val="tx1"/>
          </a:solidFill>
          <a:latin typeface="+mn-lt"/>
          <a:ea typeface="+mn-ea"/>
          <a:cs typeface="+mn-cs"/>
        </a:defRPr>
      </a:lvl5pPr>
      <a:lvl6pPr marL="2284743" algn="l" defTabSz="913897" rtl="0" eaLnBrk="1" latinLnBrk="0" hangingPunct="1">
        <a:defRPr sz="1799" kern="1200">
          <a:solidFill>
            <a:schemeClr val="tx1"/>
          </a:solidFill>
          <a:latin typeface="+mn-lt"/>
          <a:ea typeface="+mn-ea"/>
          <a:cs typeface="+mn-cs"/>
        </a:defRPr>
      </a:lvl6pPr>
      <a:lvl7pPr marL="2741691" algn="l" defTabSz="913897" rtl="0" eaLnBrk="1" latinLnBrk="0" hangingPunct="1">
        <a:defRPr sz="1799" kern="1200">
          <a:solidFill>
            <a:schemeClr val="tx1"/>
          </a:solidFill>
          <a:latin typeface="+mn-lt"/>
          <a:ea typeface="+mn-ea"/>
          <a:cs typeface="+mn-cs"/>
        </a:defRPr>
      </a:lvl7pPr>
      <a:lvl8pPr marL="3198640" algn="l" defTabSz="913897" rtl="0" eaLnBrk="1" latinLnBrk="0" hangingPunct="1">
        <a:defRPr sz="1799" kern="1200">
          <a:solidFill>
            <a:schemeClr val="tx1"/>
          </a:solidFill>
          <a:latin typeface="+mn-lt"/>
          <a:ea typeface="+mn-ea"/>
          <a:cs typeface="+mn-cs"/>
        </a:defRPr>
      </a:lvl8pPr>
      <a:lvl9pPr marL="3655588" algn="l" defTabSz="913897"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25">
          <p15:clr>
            <a:srgbClr val="F26B43"/>
          </p15:clr>
        </p15:guide>
        <p15:guide id="4" orient="horz" pos="4035">
          <p15:clr>
            <a:srgbClr val="F26B43"/>
          </p15:clr>
        </p15:guide>
        <p15:guide id="6" pos="3840">
          <p15:clr>
            <a:srgbClr val="F26B43"/>
          </p15:clr>
        </p15:guide>
        <p15:guide id="10" pos="7469">
          <p15:clr>
            <a:srgbClr val="F26B43"/>
          </p15:clr>
        </p15:guide>
        <p15:guide id="15" pos="212">
          <p15:clr>
            <a:srgbClr val="F26B43"/>
          </p15:clr>
        </p15:guide>
        <p15:guide id="17" orient="horz" pos="769">
          <p15:clr>
            <a:srgbClr val="F26B43"/>
          </p15:clr>
        </p15:guide>
        <p15:guide id="18" orient="horz" pos="361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0.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vmlDrawing" Target="../drawings/vmlDrawing49.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Layout" Target="../slideLayouts/slideLayout114.xml"/></Relationships>
</file>

<file path=ppt/slides/_rels/slide11.xml.rels><?xml version="1.0" encoding="UTF-8" standalone="yes"?>
<Relationships xmlns="http://schemas.openxmlformats.org/package/2006/relationships"><Relationship Id="rId3" Type="http://schemas.openxmlformats.org/officeDocument/2006/relationships/tags" Target="../tags/tag101.xml"/><Relationship Id="rId7" Type="http://schemas.openxmlformats.org/officeDocument/2006/relationships/image" Target="../media/image8.png"/><Relationship Id="rId2" Type="http://schemas.openxmlformats.org/officeDocument/2006/relationships/tags" Target="../tags/tag100.xml"/><Relationship Id="rId1" Type="http://schemas.openxmlformats.org/officeDocument/2006/relationships/vmlDrawing" Target="../drawings/vmlDrawing50.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Layout" Target="../slideLayouts/slideLayout114.xml"/></Relationships>
</file>

<file path=ppt/slides/_rels/slide12.xml.rels><?xml version="1.0" encoding="UTF-8" standalone="yes"?>
<Relationships xmlns="http://schemas.openxmlformats.org/package/2006/relationships"><Relationship Id="rId3" Type="http://schemas.openxmlformats.org/officeDocument/2006/relationships/tags" Target="../tags/tag103.xml"/><Relationship Id="rId7" Type="http://schemas.openxmlformats.org/officeDocument/2006/relationships/image" Target="../media/image9.png"/><Relationship Id="rId2" Type="http://schemas.openxmlformats.org/officeDocument/2006/relationships/tags" Target="../tags/tag102.xml"/><Relationship Id="rId1" Type="http://schemas.openxmlformats.org/officeDocument/2006/relationships/vmlDrawing" Target="../drawings/vmlDrawing51.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0.png"/><Relationship Id="rId2" Type="http://schemas.openxmlformats.org/officeDocument/2006/relationships/tags" Target="../tags/tag104.xml"/><Relationship Id="rId1" Type="http://schemas.openxmlformats.org/officeDocument/2006/relationships/vmlDrawing" Target="../drawings/vmlDrawing52.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Layout" Target="../slideLayouts/slideLayout114.xml"/></Relationships>
</file>

<file path=ppt/slides/_rels/slide14.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11.png"/><Relationship Id="rId2" Type="http://schemas.openxmlformats.org/officeDocument/2006/relationships/tags" Target="../tags/tag106.xml"/><Relationship Id="rId1" Type="http://schemas.openxmlformats.org/officeDocument/2006/relationships/vmlDrawing" Target="../drawings/vmlDrawing53.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Layout" Target="../slideLayouts/slideLayout114.xml"/></Relationships>
</file>

<file path=ppt/slides/_rels/slide1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09.xml"/><Relationship Id="rId7" Type="http://schemas.openxmlformats.org/officeDocument/2006/relationships/image" Target="../media/image12.png"/><Relationship Id="rId2" Type="http://schemas.openxmlformats.org/officeDocument/2006/relationships/tags" Target="../tags/tag108.xml"/><Relationship Id="rId1" Type="http://schemas.openxmlformats.org/officeDocument/2006/relationships/vmlDrawing" Target="../drawings/vmlDrawing54.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Layout" Target="../slideLayouts/slideLayout114.xml"/></Relationships>
</file>

<file path=ppt/slides/_rels/slide16.xml.rels><?xml version="1.0" encoding="UTF-8" standalone="yes"?>
<Relationships xmlns="http://schemas.openxmlformats.org/package/2006/relationships"><Relationship Id="rId3" Type="http://schemas.openxmlformats.org/officeDocument/2006/relationships/tags" Target="../tags/tag111.xml"/><Relationship Id="rId7" Type="http://schemas.openxmlformats.org/officeDocument/2006/relationships/image" Target="../media/image14.png"/><Relationship Id="rId2" Type="http://schemas.openxmlformats.org/officeDocument/2006/relationships/tags" Target="../tags/tag110.xml"/><Relationship Id="rId1" Type="http://schemas.openxmlformats.org/officeDocument/2006/relationships/vmlDrawing" Target="../drawings/vmlDrawing55.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Layout" Target="../slideLayouts/slideLayout114.xml"/></Relationships>
</file>

<file path=ppt/slides/_rels/slide1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13.xml"/><Relationship Id="rId7" Type="http://schemas.openxmlformats.org/officeDocument/2006/relationships/image" Target="../media/image15.png"/><Relationship Id="rId2" Type="http://schemas.openxmlformats.org/officeDocument/2006/relationships/tags" Target="../tags/tag112.xml"/><Relationship Id="rId1" Type="http://schemas.openxmlformats.org/officeDocument/2006/relationships/vmlDrawing" Target="../drawings/vmlDrawing56.vml"/><Relationship Id="rId6" Type="http://schemas.openxmlformats.org/officeDocument/2006/relationships/image" Target="../media/image5.emf"/><Relationship Id="rId5" Type="http://schemas.openxmlformats.org/officeDocument/2006/relationships/oleObject" Target="../embeddings/oleObject44.bin"/><Relationship Id="rId10" Type="http://schemas.openxmlformats.org/officeDocument/2006/relationships/image" Target="../media/image18.png"/><Relationship Id="rId4" Type="http://schemas.openxmlformats.org/officeDocument/2006/relationships/slideLayout" Target="../slideLayouts/slideLayout114.xml"/><Relationship Id="rId9" Type="http://schemas.openxmlformats.org/officeDocument/2006/relationships/image" Target="../media/image17.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114.xml"/><Relationship Id="rId1" Type="http://schemas.openxmlformats.org/officeDocument/2006/relationships/vmlDrawing" Target="../drawings/vmlDrawing57.vml"/><Relationship Id="rId5" Type="http://schemas.openxmlformats.org/officeDocument/2006/relationships/image" Target="../media/image6.emf"/><Relationship Id="rId4" Type="http://schemas.openxmlformats.org/officeDocument/2006/relationships/oleObject" Target="../embeddings/oleObject45.bin"/></Relationships>
</file>

<file path=ppt/slides/_rels/slide1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83.xml"/></Relationships>
</file>

<file path=ppt/slides/_rels/slide2.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6.emf"/><Relationship Id="rId2" Type="http://schemas.openxmlformats.org/officeDocument/2006/relationships/tags" Target="../tags/tag82.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notesSlide" Target="../notesSlides/notesSlide1.xml"/><Relationship Id="rId4" Type="http://schemas.openxmlformats.org/officeDocument/2006/relationships/slideLayout" Target="../slideLayouts/slideLayout94.xml"/></Relationships>
</file>

<file path=ppt/slides/_rels/slide3.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vmlDrawing" Target="../drawings/vmlDrawing42.vml"/><Relationship Id="rId6" Type="http://schemas.openxmlformats.org/officeDocument/2006/relationships/image" Target="../media/image5.emf"/><Relationship Id="rId5" Type="http://schemas.openxmlformats.org/officeDocument/2006/relationships/oleObject" Target="../embeddings/oleObject42.bin"/><Relationship Id="rId4" Type="http://schemas.openxmlformats.org/officeDocument/2006/relationships/slideLayout" Target="../slideLayouts/slideLayout114.xml"/></Relationships>
</file>

<file path=ppt/slides/_rels/slide4.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vmlDrawing" Target="../drawings/vmlDrawing43.vml"/><Relationship Id="rId6" Type="http://schemas.openxmlformats.org/officeDocument/2006/relationships/image" Target="../media/image5.emf"/><Relationship Id="rId5" Type="http://schemas.openxmlformats.org/officeDocument/2006/relationships/oleObject" Target="../embeddings/oleObject42.bin"/><Relationship Id="rId4"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44.vml"/><Relationship Id="rId6" Type="http://schemas.openxmlformats.org/officeDocument/2006/relationships/image" Target="../media/image5.emf"/><Relationship Id="rId5" Type="http://schemas.openxmlformats.org/officeDocument/2006/relationships/oleObject" Target="../embeddings/oleObject42.bin"/><Relationship Id="rId4" Type="http://schemas.openxmlformats.org/officeDocument/2006/relationships/slideLayout" Target="../slideLayouts/slideLayout114.xml"/></Relationships>
</file>

<file path=ppt/slides/_rels/slide6.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45.vml"/><Relationship Id="rId6" Type="http://schemas.openxmlformats.org/officeDocument/2006/relationships/image" Target="../media/image5.emf"/><Relationship Id="rId5" Type="http://schemas.openxmlformats.org/officeDocument/2006/relationships/oleObject" Target="../embeddings/oleObject42.bin"/><Relationship Id="rId4" Type="http://schemas.openxmlformats.org/officeDocument/2006/relationships/slideLayout" Target="../slideLayouts/slideLayout114.xml"/></Relationships>
</file>

<file path=ppt/slides/_rels/slide7.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46.vml"/><Relationship Id="rId6" Type="http://schemas.openxmlformats.org/officeDocument/2006/relationships/image" Target="../media/image6.emf"/><Relationship Id="rId5" Type="http://schemas.openxmlformats.org/officeDocument/2006/relationships/oleObject" Target="../embeddings/oleObject43.bin"/><Relationship Id="rId4" Type="http://schemas.openxmlformats.org/officeDocument/2006/relationships/slideLayout" Target="../slideLayouts/slideLayout94.xml"/></Relationships>
</file>

<file path=ppt/slides/_rels/slide8.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47.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Layout" Target="../slideLayouts/slideLayout114.xml"/></Relationships>
</file>

<file path=ppt/slides/_rels/slide9.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7.png"/><Relationship Id="rId2" Type="http://schemas.openxmlformats.org/officeDocument/2006/relationships/tags" Target="../tags/tag96.xml"/><Relationship Id="rId1" Type="http://schemas.openxmlformats.org/officeDocument/2006/relationships/vmlDrawing" Target="../drawings/vmlDrawing48.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ítulo 9">
            <a:extLst>
              <a:ext uri="{FF2B5EF4-FFF2-40B4-BE49-F238E27FC236}">
                <a16:creationId xmlns:a16="http://schemas.microsoft.com/office/drawing/2014/main" id="{7D0F4E9E-D4B3-B547-A9DC-4D8880C9F46D}"/>
              </a:ext>
            </a:extLst>
          </p:cNvPr>
          <p:cNvSpPr>
            <a:spLocks noGrp="1"/>
          </p:cNvSpPr>
          <p:nvPr>
            <p:ph type="title"/>
          </p:nvPr>
        </p:nvSpPr>
        <p:spPr>
          <a:xfrm>
            <a:off x="336002" y="2428697"/>
            <a:ext cx="5980127" cy="1648341"/>
          </a:xfrm>
        </p:spPr>
        <p:txBody>
          <a:bodyPr/>
          <a:lstStyle/>
          <a:p>
            <a:r>
              <a:rPr lang="it-IT" dirty="0"/>
              <a:t>SPRING AOP</a:t>
            </a:r>
            <a:endParaRPr lang="es-ES" dirty="0"/>
          </a:p>
        </p:txBody>
      </p:sp>
      <p:sp>
        <p:nvSpPr>
          <p:cNvPr id="8" name="Marcador de contenido 7"/>
          <p:cNvSpPr>
            <a:spLocks noGrp="1"/>
          </p:cNvSpPr>
          <p:nvPr>
            <p:ph sz="quarter" idx="12"/>
          </p:nvPr>
        </p:nvSpPr>
        <p:spPr/>
        <p:txBody>
          <a:bodyPr/>
          <a:lstStyle/>
          <a:p>
            <a:r>
              <a:rPr lang="es-ES" dirty="0"/>
              <a:t>Maurizio Minieri</a:t>
            </a:r>
          </a:p>
        </p:txBody>
      </p:sp>
      <p:grpSp>
        <p:nvGrpSpPr>
          <p:cNvPr id="12" name="Grupo 11">
            <a:extLst>
              <a:ext uri="{FF2B5EF4-FFF2-40B4-BE49-F238E27FC236}">
                <a16:creationId xmlns:a16="http://schemas.microsoft.com/office/drawing/2014/main" id="{72D46510-3BCB-3746-AD05-84A58DE8C86D}"/>
              </a:ext>
            </a:extLst>
          </p:cNvPr>
          <p:cNvGrpSpPr/>
          <p:nvPr/>
        </p:nvGrpSpPr>
        <p:grpSpPr>
          <a:xfrm>
            <a:off x="6845985" y="1346032"/>
            <a:ext cx="2092160" cy="3698006"/>
            <a:chOff x="4700634" y="1022350"/>
            <a:chExt cx="1569938" cy="2774950"/>
          </a:xfrm>
          <a:solidFill>
            <a:schemeClr val="accent2"/>
          </a:solidFill>
        </p:grpSpPr>
        <p:sp>
          <p:nvSpPr>
            <p:cNvPr id="13" name="Rectángulo 6">
              <a:extLst>
                <a:ext uri="{FF2B5EF4-FFF2-40B4-BE49-F238E27FC236}">
                  <a16:creationId xmlns:a16="http://schemas.microsoft.com/office/drawing/2014/main" id="{7B3603A7-D7F6-D447-AC7E-DCEDD18B5644}"/>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4" name="Rectángulo 13">
              <a:extLst>
                <a:ext uri="{FF2B5EF4-FFF2-40B4-BE49-F238E27FC236}">
                  <a16:creationId xmlns:a16="http://schemas.microsoft.com/office/drawing/2014/main" id="{DEF7F3DA-3318-B54A-A86E-1C0912576A14}"/>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5" name="Rectángulo 14">
              <a:extLst>
                <a:ext uri="{FF2B5EF4-FFF2-40B4-BE49-F238E27FC236}">
                  <a16:creationId xmlns:a16="http://schemas.microsoft.com/office/drawing/2014/main" id="{AF95EF0D-64BD-8C41-9271-7C7E67BA1752}"/>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6" name="Rectángulo 15">
              <a:extLst>
                <a:ext uri="{FF2B5EF4-FFF2-40B4-BE49-F238E27FC236}">
                  <a16:creationId xmlns:a16="http://schemas.microsoft.com/office/drawing/2014/main" id="{7C54F4E3-09F1-DA4F-AC1E-D94DC533F11F}"/>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grpSp>
        <p:nvGrpSpPr>
          <p:cNvPr id="17" name="Grupo 16">
            <a:extLst>
              <a:ext uri="{FF2B5EF4-FFF2-40B4-BE49-F238E27FC236}">
                <a16:creationId xmlns:a16="http://schemas.microsoft.com/office/drawing/2014/main" id="{EB2B45F2-8D32-A344-93BE-979FC74FCFB7}"/>
              </a:ext>
            </a:extLst>
          </p:cNvPr>
          <p:cNvGrpSpPr/>
          <p:nvPr/>
        </p:nvGrpSpPr>
        <p:grpSpPr>
          <a:xfrm>
            <a:off x="8153713" y="1346032"/>
            <a:ext cx="2092160" cy="3698006"/>
            <a:chOff x="4700634" y="1022350"/>
            <a:chExt cx="1569938" cy="2774950"/>
          </a:xfrm>
          <a:solidFill>
            <a:schemeClr val="tx2"/>
          </a:solidFill>
        </p:grpSpPr>
        <p:sp>
          <p:nvSpPr>
            <p:cNvPr id="18" name="Rectángulo 6">
              <a:extLst>
                <a:ext uri="{FF2B5EF4-FFF2-40B4-BE49-F238E27FC236}">
                  <a16:creationId xmlns:a16="http://schemas.microsoft.com/office/drawing/2014/main" id="{B5C53D1D-2BE8-DC4D-9686-EE7D25277B36}"/>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9" name="Rectángulo 18">
              <a:extLst>
                <a:ext uri="{FF2B5EF4-FFF2-40B4-BE49-F238E27FC236}">
                  <a16:creationId xmlns:a16="http://schemas.microsoft.com/office/drawing/2014/main" id="{F900BB0B-5327-5945-98EC-D80CC934A2A3}"/>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20" name="Rectángulo 19">
              <a:extLst>
                <a:ext uri="{FF2B5EF4-FFF2-40B4-BE49-F238E27FC236}">
                  <a16:creationId xmlns:a16="http://schemas.microsoft.com/office/drawing/2014/main" id="{B1DD8B18-64B5-4948-BB66-287B0484AF59}"/>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21" name="Rectángulo 20">
              <a:extLst>
                <a:ext uri="{FF2B5EF4-FFF2-40B4-BE49-F238E27FC236}">
                  <a16:creationId xmlns:a16="http://schemas.microsoft.com/office/drawing/2014/main" id="{D12A53A6-630E-7B4D-A7A5-8AA797881B4E}"/>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grpSp>
        <p:nvGrpSpPr>
          <p:cNvPr id="22" name="Grupo 21">
            <a:extLst>
              <a:ext uri="{FF2B5EF4-FFF2-40B4-BE49-F238E27FC236}">
                <a16:creationId xmlns:a16="http://schemas.microsoft.com/office/drawing/2014/main" id="{C733D58C-D2A1-9040-B07D-82C6EAEF6E32}"/>
              </a:ext>
            </a:extLst>
          </p:cNvPr>
          <p:cNvGrpSpPr/>
          <p:nvPr/>
        </p:nvGrpSpPr>
        <p:grpSpPr>
          <a:xfrm>
            <a:off x="9461442" y="1346032"/>
            <a:ext cx="2092160" cy="3698006"/>
            <a:chOff x="4700634" y="1022350"/>
            <a:chExt cx="1569938" cy="2774950"/>
          </a:xfrm>
          <a:solidFill>
            <a:schemeClr val="accent5"/>
          </a:solidFill>
        </p:grpSpPr>
        <p:sp>
          <p:nvSpPr>
            <p:cNvPr id="23" name="Rectángulo 6">
              <a:extLst>
                <a:ext uri="{FF2B5EF4-FFF2-40B4-BE49-F238E27FC236}">
                  <a16:creationId xmlns:a16="http://schemas.microsoft.com/office/drawing/2014/main" id="{D71BC356-ED41-B049-88E2-47DC0FA3C96B}"/>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24" name="Rectángulo 23">
              <a:extLst>
                <a:ext uri="{FF2B5EF4-FFF2-40B4-BE49-F238E27FC236}">
                  <a16:creationId xmlns:a16="http://schemas.microsoft.com/office/drawing/2014/main" id="{4A4DF583-F789-A147-928A-81BDEA644EAF}"/>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25" name="Rectángulo 24">
              <a:extLst>
                <a:ext uri="{FF2B5EF4-FFF2-40B4-BE49-F238E27FC236}">
                  <a16:creationId xmlns:a16="http://schemas.microsoft.com/office/drawing/2014/main" id="{BD340412-0579-1344-9B6D-DEF4DEE4960D}"/>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26" name="Rectángulo 25">
              <a:extLst>
                <a:ext uri="{FF2B5EF4-FFF2-40B4-BE49-F238E27FC236}">
                  <a16:creationId xmlns:a16="http://schemas.microsoft.com/office/drawing/2014/main" id="{44E55E4B-0109-E64B-A511-0CD7799B8CF6}"/>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27" name="Marcador de contenido 7">
            <a:extLst>
              <a:ext uri="{FF2B5EF4-FFF2-40B4-BE49-F238E27FC236}">
                <a16:creationId xmlns:a16="http://schemas.microsoft.com/office/drawing/2014/main" id="{8CB79E12-3298-4D4B-BC51-A0C7D73287BC}"/>
              </a:ext>
            </a:extLst>
          </p:cNvPr>
          <p:cNvSpPr txBox="1">
            <a:spLocks/>
          </p:cNvSpPr>
          <p:nvPr/>
        </p:nvSpPr>
        <p:spPr>
          <a:xfrm>
            <a:off x="336004" y="5123738"/>
            <a:ext cx="5651500" cy="199445"/>
          </a:xfrm>
          <a:prstGeom prst="rect">
            <a:avLst/>
          </a:prstGeom>
        </p:spPr>
        <p:txBody>
          <a:bodyPr lIns="0" tIns="0" rIns="0" bIns="0"/>
          <a:lstStyle>
            <a:lvl1pPr marL="0" indent="0" algn="l" defTabSz="913897" rtl="0" eaLnBrk="1" latinLnBrk="0" hangingPunct="1">
              <a:lnSpc>
                <a:spcPct val="90000"/>
              </a:lnSpc>
              <a:spcBef>
                <a:spcPts val="999"/>
              </a:spcBef>
              <a:buFont typeface="Arial" panose="020B0604020202020204" pitchFamily="34" charset="0"/>
              <a:buNone/>
              <a:defRPr sz="1600" b="0" i="0" kern="1200">
                <a:solidFill>
                  <a:schemeClr val="tx1"/>
                </a:solidFill>
                <a:latin typeface="Soho Gothic Pro Light" panose="020B0303030504020204" pitchFamily="34" charset="77"/>
                <a:ea typeface="+mn-ea"/>
                <a:cs typeface="+mn-cs"/>
              </a:defRPr>
            </a:lvl1pPr>
            <a:lvl2pPr marL="685423" indent="-228474" algn="l" defTabSz="913897"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371" indent="-228474" algn="l" defTabSz="913897"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320"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268"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217"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166"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114"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063"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es-ES" dirty="0"/>
              <a:t>Dicembre 2022</a:t>
            </a:r>
          </a:p>
        </p:txBody>
      </p:sp>
    </p:spTree>
    <p:extLst>
      <p:ext uri="{BB962C8B-B14F-4D97-AF65-F5344CB8AC3E}">
        <p14:creationId xmlns:p14="http://schemas.microsoft.com/office/powerpoint/2010/main" val="33284282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spid="_x0000_s305228"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5291" y="3902"/>
                        <a:ext cx="2116" cy="2116"/>
                      </a:xfrm>
                      <a:prstGeom prst="rect">
                        <a:avLst/>
                      </a:prstGeom>
                    </p:spPr>
                  </p:pic>
                </p:oleObj>
              </mc:Fallback>
            </mc:AlternateContent>
          </a:graphicData>
        </a:graphic>
      </p:graphicFrame>
      <p:sp>
        <p:nvSpPr>
          <p:cNvPr id="2" name="Rectángulo 1" hidden="1"/>
          <p:cNvSpPr/>
          <p:nvPr>
            <p:custDataLst>
              <p:tags r:id="rId3"/>
            </p:custDataLst>
          </p:nvPr>
        </p:nvSpPr>
        <p:spPr>
          <a:xfrm>
            <a:off x="3175" y="1786"/>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3198"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336000" y="649095"/>
            <a:ext cx="3699971" cy="403641"/>
          </a:xfrm>
        </p:spPr>
        <p:txBody>
          <a:bodyPr/>
          <a:lstStyle/>
          <a:p>
            <a:r>
              <a:rPr lang="it-IT" dirty="0"/>
              <a:t>Designatori </a:t>
            </a:r>
            <a:r>
              <a:rPr lang="it-IT" dirty="0" err="1"/>
              <a:t>pointcut</a:t>
            </a:r>
            <a:endParaRPr lang="en-US" dirty="0"/>
          </a:p>
        </p:txBody>
      </p:sp>
      <p:sp>
        <p:nvSpPr>
          <p:cNvPr id="5" name="Marcador de contenido 2">
            <a:extLst>
              <a:ext uri="{FF2B5EF4-FFF2-40B4-BE49-F238E27FC236}">
                <a16:creationId xmlns:a16="http://schemas.microsoft.com/office/drawing/2014/main" id="{8FFCB682-A2FC-CA4B-AF1F-9B44DC3872A4}"/>
              </a:ext>
            </a:extLst>
          </p:cNvPr>
          <p:cNvSpPr txBox="1">
            <a:spLocks/>
          </p:cNvSpPr>
          <p:nvPr/>
        </p:nvSpPr>
        <p:spPr>
          <a:xfrm>
            <a:off x="339005" y="1510007"/>
            <a:ext cx="8838145" cy="3359153"/>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0" marR="0" lvl="0" indent="0" algn="l" defTabSz="514337"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s-ES" sz="1800" b="0" i="0" u="none" strike="noStrike" kern="1200" cap="none" spc="0" normalizeH="0" baseline="0" noProof="0">
              <a:ln>
                <a:noFill/>
              </a:ln>
              <a:solidFill>
                <a:srgbClr val="1A3B47"/>
              </a:solidFill>
              <a:effectLst/>
              <a:uLnTx/>
              <a:uFillTx/>
              <a:latin typeface="Soho Gothic Pro Light"/>
              <a:ea typeface="+mn-ea"/>
            </a:endParaRPr>
          </a:p>
        </p:txBody>
      </p:sp>
      <p:sp>
        <p:nvSpPr>
          <p:cNvPr id="10" name="Marcador de contenido 2">
            <a:extLst>
              <a:ext uri="{FF2B5EF4-FFF2-40B4-BE49-F238E27FC236}">
                <a16:creationId xmlns:a16="http://schemas.microsoft.com/office/drawing/2014/main" id="{8FFCB682-A2FC-CA4B-AF1F-9B44DC3872A4}"/>
              </a:ext>
            </a:extLst>
          </p:cNvPr>
          <p:cNvSpPr txBox="1">
            <a:spLocks/>
          </p:cNvSpPr>
          <p:nvPr/>
        </p:nvSpPr>
        <p:spPr>
          <a:xfrm>
            <a:off x="334811" y="1510007"/>
            <a:ext cx="8838145" cy="1342930"/>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0" marR="0" lvl="0" indent="0" algn="l" defTabSz="514337"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it-IT" sz="1800" b="0" i="0" u="none" strike="noStrike" kern="1200" cap="none" spc="0" normalizeH="0" baseline="0" noProof="0">
              <a:ln>
                <a:noFill/>
              </a:ln>
              <a:solidFill>
                <a:srgbClr val="1A3B47"/>
              </a:solidFill>
              <a:effectLst/>
              <a:uLnTx/>
              <a:uFillTx/>
              <a:latin typeface="Soho Gothic Pro Light"/>
              <a:ea typeface="+mn-ea"/>
            </a:endParaRPr>
          </a:p>
        </p:txBody>
      </p:sp>
      <p:sp>
        <p:nvSpPr>
          <p:cNvPr id="11" name="Marcador de contenido 2">
            <a:extLst>
              <a:ext uri="{FF2B5EF4-FFF2-40B4-BE49-F238E27FC236}">
                <a16:creationId xmlns:a16="http://schemas.microsoft.com/office/drawing/2014/main" id="{8FFCB682-A2FC-CA4B-AF1F-9B44DC3872A4}"/>
              </a:ext>
            </a:extLst>
          </p:cNvPr>
          <p:cNvSpPr txBox="1">
            <a:spLocks/>
          </p:cNvSpPr>
          <p:nvPr/>
        </p:nvSpPr>
        <p:spPr>
          <a:xfrm>
            <a:off x="334811" y="1510007"/>
            <a:ext cx="11305805" cy="4151241"/>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171450" marR="0" lvl="0" indent="-171450" algn="l" defTabSz="514337" rtl="0" eaLnBrk="1" fontAlgn="auto" latinLnBrk="0" hangingPunct="1">
              <a:lnSpc>
                <a:spcPct val="100000"/>
              </a:lnSpc>
              <a:spcBef>
                <a:spcPts val="600"/>
              </a:spcBef>
              <a:spcAft>
                <a:spcPts val="0"/>
              </a:spcAft>
              <a:buClrTx/>
              <a:buSzTx/>
              <a:buFont typeface="Wingdings" panose="05000000000000000000" pitchFamily="2" charset="2"/>
              <a:buChar char="§"/>
              <a:tabLst/>
              <a:defRPr/>
            </a:pPr>
            <a:endParaRPr kumimoji="0" lang="es-ES" sz="1800" b="0" i="0" u="none" strike="noStrike" kern="1200" cap="none" spc="0" normalizeH="0" baseline="0" noProof="0" dirty="0">
              <a:ln>
                <a:noFill/>
              </a:ln>
              <a:solidFill>
                <a:srgbClr val="1A3B47"/>
              </a:solidFill>
              <a:effectLst/>
              <a:uLnTx/>
              <a:uFillTx/>
              <a:latin typeface="Soho Gothic Pro Light"/>
              <a:ea typeface="+mn-ea"/>
            </a:endParaRPr>
          </a:p>
        </p:txBody>
      </p:sp>
      <p:sp>
        <p:nvSpPr>
          <p:cNvPr id="4" name="Rettangolo 3"/>
          <p:cNvSpPr/>
          <p:nvPr/>
        </p:nvSpPr>
        <p:spPr>
          <a:xfrm>
            <a:off x="339005" y="1510007"/>
            <a:ext cx="9865645" cy="923330"/>
          </a:xfrm>
          <a:prstGeom prst="rect">
            <a:avLst/>
          </a:prstGeom>
        </p:spPr>
        <p:txBody>
          <a:bodyPr wrap="square" lIns="91440" tIns="45720" rIns="91440" bIns="45720" anchor="t">
            <a:spAutoFit/>
          </a:bodyPr>
          <a:lstStyle/>
          <a:p>
            <a:r>
              <a:rPr lang="it-IT" sz="1800" dirty="0" err="1">
                <a:latin typeface="CMR10"/>
              </a:rPr>
              <a:t>SpringAOP</a:t>
            </a:r>
            <a:r>
              <a:rPr lang="it-IT" sz="1800" dirty="0">
                <a:latin typeface="CMR10"/>
              </a:rPr>
              <a:t> supporta i seguenti designatori </a:t>
            </a:r>
            <a:r>
              <a:rPr lang="it-IT" sz="1800" dirty="0" err="1">
                <a:latin typeface="CMR10"/>
              </a:rPr>
              <a:t>AspectJ</a:t>
            </a:r>
            <a:r>
              <a:rPr lang="it-IT" sz="1800" dirty="0">
                <a:latin typeface="CMR10"/>
              </a:rPr>
              <a:t> per l’uso nelle espressioni </a:t>
            </a:r>
            <a:r>
              <a:rPr lang="it-IT" sz="1800" dirty="0" err="1">
                <a:latin typeface="CMR10"/>
              </a:rPr>
              <a:t>pointcut</a:t>
            </a:r>
            <a:endParaRPr lang="it-IT" sz="1800" dirty="0">
              <a:latin typeface="CMR10"/>
            </a:endParaRPr>
          </a:p>
          <a:p>
            <a:endParaRPr lang="it-IT" sz="1800" dirty="0">
              <a:latin typeface="CMR10"/>
            </a:endParaRPr>
          </a:p>
          <a:p>
            <a:endParaRPr lang="it-IT" sz="1800" dirty="0">
              <a:latin typeface="CMR10"/>
            </a:endParaRPr>
          </a:p>
        </p:txBody>
      </p:sp>
      <p:sp>
        <p:nvSpPr>
          <p:cNvPr id="8" name="Segnaposto testo 7">
            <a:extLst>
              <a:ext uri="{FF2B5EF4-FFF2-40B4-BE49-F238E27FC236}">
                <a16:creationId xmlns:a16="http://schemas.microsoft.com/office/drawing/2014/main" id="{AECA5DBF-0B08-4ED4-8B86-55FCA257C0AF}"/>
              </a:ext>
            </a:extLst>
          </p:cNvPr>
          <p:cNvSpPr>
            <a:spLocks noGrp="1"/>
          </p:cNvSpPr>
          <p:nvPr>
            <p:ph type="body" sz="quarter" idx="13"/>
          </p:nvPr>
        </p:nvSpPr>
        <p:spPr/>
        <p:txBody>
          <a:bodyPr/>
          <a:lstStyle/>
          <a:p>
            <a:endParaRPr lang="it-IT"/>
          </a:p>
        </p:txBody>
      </p:sp>
      <p:sp>
        <p:nvSpPr>
          <p:cNvPr id="12" name="CasellaDiTesto 11">
            <a:extLst>
              <a:ext uri="{FF2B5EF4-FFF2-40B4-BE49-F238E27FC236}">
                <a16:creationId xmlns:a16="http://schemas.microsoft.com/office/drawing/2014/main" id="{EB02799E-7D25-45C5-8288-75AA3A6AEBCF}"/>
              </a:ext>
            </a:extLst>
          </p:cNvPr>
          <p:cNvSpPr txBox="1"/>
          <p:nvPr/>
        </p:nvSpPr>
        <p:spPr>
          <a:xfrm>
            <a:off x="339005" y="1971672"/>
            <a:ext cx="11513990" cy="251607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sz="1750" b="1" noProof="1">
                <a:ea typeface="+mn-lt"/>
                <a:cs typeface="+mn-lt"/>
              </a:rPr>
              <a:t>execution(method): </a:t>
            </a:r>
            <a:r>
              <a:rPr lang="en-US" sz="1750" noProof="1">
                <a:ea typeface="+mn-lt"/>
                <a:cs typeface="+mn-lt"/>
              </a:rPr>
              <a:t>esecuzione del metodo </a:t>
            </a:r>
            <a:r>
              <a:rPr lang="en-US" sz="1750" i="1" noProof="1">
                <a:ea typeface="+mn-lt"/>
                <a:cs typeface="+mn-lt"/>
              </a:rPr>
              <a:t>method</a:t>
            </a:r>
          </a:p>
          <a:p>
            <a:pPr marL="285750" indent="-285750">
              <a:buFont typeface="Arial"/>
              <a:buChar char="•"/>
            </a:pPr>
            <a:r>
              <a:rPr lang="en-US" sz="1750" b="1" noProof="1">
                <a:ea typeface="+mn-lt"/>
                <a:cs typeface="+mn-lt"/>
              </a:rPr>
              <a:t>within(type): </a:t>
            </a:r>
            <a:r>
              <a:rPr lang="en-US" sz="1750" noProof="1">
                <a:ea typeface="+mn-lt"/>
                <a:cs typeface="+mn-lt"/>
              </a:rPr>
              <a:t>esecuzione del metodo all’interno del tipo </a:t>
            </a:r>
            <a:r>
              <a:rPr lang="en-US" sz="1750" i="1" noProof="1">
                <a:ea typeface="+mn-lt"/>
                <a:cs typeface="+mn-lt"/>
              </a:rPr>
              <a:t>type</a:t>
            </a:r>
          </a:p>
          <a:p>
            <a:pPr marL="285750" indent="-285750">
              <a:buFont typeface="Arial"/>
              <a:buChar char="•"/>
            </a:pPr>
            <a:r>
              <a:rPr lang="en-US" sz="1750" b="1" noProof="1">
                <a:ea typeface="+mn-lt"/>
                <a:cs typeface="+mn-lt"/>
              </a:rPr>
              <a:t>this(type): </a:t>
            </a:r>
            <a:r>
              <a:rPr lang="en-US" sz="1750" noProof="1">
                <a:ea typeface="+mn-lt"/>
                <a:cs typeface="+mn-lt"/>
              </a:rPr>
              <a:t>esecuzione dei metodi in cui il bean è un’istanza del tipo </a:t>
            </a:r>
            <a:r>
              <a:rPr lang="en-US" sz="1750" i="1" noProof="1">
                <a:ea typeface="+mn-lt"/>
                <a:cs typeface="+mn-lt"/>
              </a:rPr>
              <a:t>type</a:t>
            </a:r>
          </a:p>
          <a:p>
            <a:pPr marL="285750" indent="-285750">
              <a:buFont typeface="Arial"/>
              <a:buChar char="•"/>
            </a:pPr>
            <a:r>
              <a:rPr lang="en-US" sz="1750" b="1" noProof="1">
                <a:ea typeface="+mn-lt"/>
                <a:cs typeface="+mn-lt"/>
              </a:rPr>
              <a:t>target(type): </a:t>
            </a:r>
            <a:r>
              <a:rPr lang="en-US" sz="1750" noProof="1">
                <a:ea typeface="+mn-lt"/>
                <a:cs typeface="+mn-lt"/>
              </a:rPr>
              <a:t>esecuzione dei metodi in cui l’oggetto di destinazione è del tipo </a:t>
            </a:r>
            <a:r>
              <a:rPr lang="en-US" sz="1750" i="1" noProof="1">
                <a:ea typeface="+mn-lt"/>
                <a:cs typeface="+mn-lt"/>
              </a:rPr>
              <a:t>type</a:t>
            </a:r>
          </a:p>
          <a:p>
            <a:pPr marL="285750" indent="-285750">
              <a:buFont typeface="Arial"/>
              <a:buChar char="•"/>
            </a:pPr>
            <a:r>
              <a:rPr lang="en-US" sz="1750" b="1" noProof="1">
                <a:ea typeface="+mn-lt"/>
                <a:cs typeface="+mn-lt"/>
              </a:rPr>
              <a:t>args(type1,…,n): </a:t>
            </a:r>
            <a:r>
              <a:rPr lang="en-US" sz="1750" noProof="1">
                <a:ea typeface="+mn-lt"/>
                <a:cs typeface="+mn-lt"/>
              </a:rPr>
              <a:t>esecuzione dei metodi in cui gli argomenti sono istanze del tipo </a:t>
            </a:r>
            <a:r>
              <a:rPr lang="en-US" sz="1750" i="1" noProof="1">
                <a:ea typeface="+mn-lt"/>
                <a:cs typeface="+mn-lt"/>
              </a:rPr>
              <a:t>type</a:t>
            </a:r>
          </a:p>
          <a:p>
            <a:pPr marL="285750" indent="-285750">
              <a:buFont typeface="Arial"/>
              <a:buChar char="•"/>
            </a:pPr>
            <a:r>
              <a:rPr lang="en-US" sz="1750" b="1" noProof="1">
                <a:ea typeface="+mn-lt"/>
                <a:cs typeface="+mn-lt"/>
              </a:rPr>
              <a:t>@target(type): </a:t>
            </a:r>
            <a:r>
              <a:rPr lang="en-US" sz="1750" noProof="1">
                <a:ea typeface="+mn-lt"/>
                <a:cs typeface="+mn-lt"/>
              </a:rPr>
              <a:t>esecuzione dei metodi in cui la classe dell’oggetto in esecuzione ha un’annotazione del tipo </a:t>
            </a:r>
            <a:r>
              <a:rPr lang="en-US" sz="1750" i="1" noProof="1">
                <a:ea typeface="+mn-lt"/>
                <a:cs typeface="+mn-lt"/>
              </a:rPr>
              <a:t>type</a:t>
            </a:r>
          </a:p>
          <a:p>
            <a:pPr marL="285750" indent="-285750">
              <a:buFont typeface="Arial"/>
              <a:buChar char="•"/>
            </a:pPr>
            <a:r>
              <a:rPr lang="en-US" sz="1750" b="1" noProof="1">
                <a:ea typeface="+mn-lt"/>
                <a:cs typeface="+mn-lt"/>
              </a:rPr>
              <a:t>@args(type1,…,n): </a:t>
            </a:r>
            <a:r>
              <a:rPr lang="en-US" sz="1750" noProof="1">
                <a:ea typeface="+mn-lt"/>
                <a:cs typeface="+mn-lt"/>
              </a:rPr>
              <a:t>esecuzione dei metodi in cui il tipo di runtime degli argomenti ha annotazioni dei tipi </a:t>
            </a:r>
            <a:r>
              <a:rPr lang="en-US" sz="1750" i="1" noProof="1">
                <a:ea typeface="+mn-lt"/>
                <a:cs typeface="+mn-lt"/>
              </a:rPr>
              <a:t>type</a:t>
            </a:r>
          </a:p>
          <a:p>
            <a:pPr marL="285750" indent="-285750" algn="just">
              <a:buFont typeface="Arial"/>
              <a:buChar char="•"/>
            </a:pPr>
            <a:r>
              <a:rPr lang="en-US" sz="1750" b="1" noProof="1">
                <a:ea typeface="+mn-lt"/>
                <a:cs typeface="+mn-lt"/>
              </a:rPr>
              <a:t>@within(type): </a:t>
            </a:r>
            <a:r>
              <a:rPr lang="en-US" sz="1750" noProof="1">
                <a:ea typeface="+mn-lt"/>
                <a:cs typeface="+mn-lt"/>
              </a:rPr>
              <a:t>esecuzione del metodo all’interno di una classe con l’annotazione </a:t>
            </a:r>
            <a:r>
              <a:rPr lang="en-US" sz="1750" i="1" noProof="1">
                <a:ea typeface="+mn-lt"/>
                <a:cs typeface="+mn-lt"/>
              </a:rPr>
              <a:t>type</a:t>
            </a:r>
          </a:p>
          <a:p>
            <a:pPr marL="285750" indent="-285750">
              <a:buFont typeface="Arial"/>
              <a:buChar char="•"/>
            </a:pPr>
            <a:r>
              <a:rPr lang="en-US" sz="1750" b="1" noProof="1">
                <a:ea typeface="+mn-lt"/>
                <a:cs typeface="+mn-lt"/>
              </a:rPr>
              <a:t>@annotation(type): </a:t>
            </a:r>
            <a:r>
              <a:rPr lang="en-US" sz="1750" noProof="1">
                <a:ea typeface="+mn-lt"/>
                <a:cs typeface="+mn-lt"/>
              </a:rPr>
              <a:t>il metodo eseguito ha l’annotazione del tipo </a:t>
            </a:r>
            <a:r>
              <a:rPr lang="en-US" sz="1750" i="1" noProof="1">
                <a:ea typeface="+mn-lt"/>
                <a:cs typeface="+mn-lt"/>
              </a:rPr>
              <a:t>type</a:t>
            </a:r>
          </a:p>
        </p:txBody>
      </p:sp>
      <p:sp>
        <p:nvSpPr>
          <p:cNvPr id="6" name="CasellaDiTesto 5">
            <a:extLst>
              <a:ext uri="{FF2B5EF4-FFF2-40B4-BE49-F238E27FC236}">
                <a16:creationId xmlns:a16="http://schemas.microsoft.com/office/drawing/2014/main" id="{EBA77BE7-1E91-4FB5-92E1-395DF569E7E2}"/>
              </a:ext>
            </a:extLst>
          </p:cNvPr>
          <p:cNvSpPr txBox="1"/>
          <p:nvPr/>
        </p:nvSpPr>
        <p:spPr>
          <a:xfrm>
            <a:off x="4327634" y="5965073"/>
            <a:ext cx="184731" cy="369204"/>
          </a:xfrm>
          <a:prstGeom prst="rect">
            <a:avLst/>
          </a:prstGeom>
          <a:noFill/>
        </p:spPr>
        <p:txBody>
          <a:bodyPr wrap="none" rtlCol="0">
            <a:spAutoFit/>
          </a:bodyPr>
          <a:lstStyle/>
          <a:p>
            <a:endParaRPr lang="it-IT" dirty="0"/>
          </a:p>
        </p:txBody>
      </p:sp>
      <p:sp>
        <p:nvSpPr>
          <p:cNvPr id="7" name="Rettangolo 6">
            <a:extLst>
              <a:ext uri="{FF2B5EF4-FFF2-40B4-BE49-F238E27FC236}">
                <a16:creationId xmlns:a16="http://schemas.microsoft.com/office/drawing/2014/main" id="{94EFFA81-79E9-4FAA-8769-3471854A7E9E}"/>
              </a:ext>
            </a:extLst>
          </p:cNvPr>
          <p:cNvSpPr/>
          <p:nvPr/>
        </p:nvSpPr>
        <p:spPr>
          <a:xfrm>
            <a:off x="334811" y="5040232"/>
            <a:ext cx="10466968" cy="646331"/>
          </a:xfrm>
          <a:prstGeom prst="rect">
            <a:avLst/>
          </a:prstGeom>
        </p:spPr>
        <p:txBody>
          <a:bodyPr wrap="none">
            <a:spAutoFit/>
          </a:bodyPr>
          <a:lstStyle/>
          <a:p>
            <a:pPr marL="285750" indent="-285750">
              <a:buFont typeface="Arial" panose="020B0604020202020204" pitchFamily="34" charset="0"/>
              <a:buChar char="•"/>
            </a:pPr>
            <a:r>
              <a:rPr lang="en-US" sz="1800" b="1" noProof="1">
                <a:ea typeface="+mn-lt"/>
                <a:cs typeface="+mn-lt"/>
              </a:rPr>
              <a:t>Spring IoC Container </a:t>
            </a:r>
            <a:r>
              <a:rPr lang="en-US" sz="1800" noProof="1">
                <a:ea typeface="+mn-lt"/>
                <a:cs typeface="+mn-lt"/>
              </a:rPr>
              <a:t>Spring AOP è limitato, funziona solo con bean gestiti da Spring, non con oggetti Java</a:t>
            </a:r>
          </a:p>
          <a:p>
            <a:pPr marL="285750" indent="-285750">
              <a:buFont typeface="Arial" panose="020B0604020202020204" pitchFamily="34" charset="0"/>
              <a:buChar char="•"/>
            </a:pPr>
            <a:r>
              <a:rPr lang="en-US" sz="1800" b="1" noProof="1">
                <a:ea typeface="+mn-lt"/>
                <a:cs typeface="+mn-lt"/>
              </a:rPr>
              <a:t>new vs Autowired </a:t>
            </a:r>
            <a:r>
              <a:rPr lang="en-US" sz="1800" noProof="1">
                <a:ea typeface="+mn-lt"/>
                <a:cs typeface="+mn-lt"/>
              </a:rPr>
              <a:t>l’istanza non presa dal container non verrà analizzata</a:t>
            </a:r>
            <a:endParaRPr lang="it-IT" dirty="0"/>
          </a:p>
        </p:txBody>
      </p:sp>
    </p:spTree>
    <p:extLst>
      <p:ext uri="{BB962C8B-B14F-4D97-AF65-F5344CB8AC3E}">
        <p14:creationId xmlns:p14="http://schemas.microsoft.com/office/powerpoint/2010/main" val="5184077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2">
                                            <p:txEl>
                                              <p:pRg st="5" end="5"/>
                                            </p:txEl>
                                          </p:spTgt>
                                        </p:tgtEl>
                                        <p:attrNameLst>
                                          <p:attrName>style.visibility</p:attrName>
                                        </p:attrNameLst>
                                      </p:cBhvr>
                                      <p:to>
                                        <p:strVal val="visible"/>
                                      </p:to>
                                    </p:set>
                                    <p:animEffect transition="in" filter="barn(inVertical)">
                                      <p:cBhvr>
                                        <p:cTn id="7" dur="500"/>
                                        <p:tgtEl>
                                          <p:spTgt spid="12">
                                            <p:txEl>
                                              <p:pRg st="5" end="5"/>
                                            </p:txEl>
                                          </p:spTgt>
                                        </p:tgtEl>
                                      </p:cBhvr>
                                    </p:animEffect>
                                  </p:childTnLst>
                                </p:cTn>
                              </p:par>
                              <p:par>
                                <p:cTn id="8" presetID="16" presetClass="entr" presetSubtype="21" fill="hold" nodeType="withEffect">
                                  <p:stCondLst>
                                    <p:cond delay="0"/>
                                  </p:stCondLst>
                                  <p:childTnLst>
                                    <p:set>
                                      <p:cBhvr>
                                        <p:cTn id="9" dur="1" fill="hold">
                                          <p:stCondLst>
                                            <p:cond delay="0"/>
                                          </p:stCondLst>
                                        </p:cTn>
                                        <p:tgtEl>
                                          <p:spTgt spid="12">
                                            <p:txEl>
                                              <p:pRg st="6" end="6"/>
                                            </p:txEl>
                                          </p:spTgt>
                                        </p:tgtEl>
                                        <p:attrNameLst>
                                          <p:attrName>style.visibility</p:attrName>
                                        </p:attrNameLst>
                                      </p:cBhvr>
                                      <p:to>
                                        <p:strVal val="visible"/>
                                      </p:to>
                                    </p:set>
                                    <p:animEffect transition="in" filter="barn(inVertical)">
                                      <p:cBhvr>
                                        <p:cTn id="10" dur="500"/>
                                        <p:tgtEl>
                                          <p:spTgt spid="12">
                                            <p:txEl>
                                              <p:pRg st="6" end="6"/>
                                            </p:txEl>
                                          </p:spTgt>
                                        </p:tgtEl>
                                      </p:cBhvr>
                                    </p:animEffect>
                                  </p:childTnLst>
                                </p:cTn>
                              </p:par>
                              <p:par>
                                <p:cTn id="11" presetID="16" presetClass="entr" presetSubtype="21" fill="hold" nodeType="withEffect">
                                  <p:stCondLst>
                                    <p:cond delay="0"/>
                                  </p:stCondLst>
                                  <p:childTnLst>
                                    <p:set>
                                      <p:cBhvr>
                                        <p:cTn id="12" dur="1" fill="hold">
                                          <p:stCondLst>
                                            <p:cond delay="0"/>
                                          </p:stCondLst>
                                        </p:cTn>
                                        <p:tgtEl>
                                          <p:spTgt spid="12">
                                            <p:txEl>
                                              <p:pRg st="7" end="7"/>
                                            </p:txEl>
                                          </p:spTgt>
                                        </p:tgtEl>
                                        <p:attrNameLst>
                                          <p:attrName>style.visibility</p:attrName>
                                        </p:attrNameLst>
                                      </p:cBhvr>
                                      <p:to>
                                        <p:strVal val="visible"/>
                                      </p:to>
                                    </p:set>
                                    <p:animEffect transition="in" filter="barn(inVertical)">
                                      <p:cBhvr>
                                        <p:cTn id="13" dur="500"/>
                                        <p:tgtEl>
                                          <p:spTgt spid="12">
                                            <p:txEl>
                                              <p:pRg st="7" end="7"/>
                                            </p:txEl>
                                          </p:spTgt>
                                        </p:tgtEl>
                                      </p:cBhvr>
                                    </p:animEffect>
                                  </p:childTnLst>
                                </p:cTn>
                              </p:par>
                              <p:par>
                                <p:cTn id="14" presetID="16" presetClass="entr" presetSubtype="21" fill="hold" nodeType="withEffect">
                                  <p:stCondLst>
                                    <p:cond delay="0"/>
                                  </p:stCondLst>
                                  <p:childTnLst>
                                    <p:set>
                                      <p:cBhvr>
                                        <p:cTn id="15" dur="1" fill="hold">
                                          <p:stCondLst>
                                            <p:cond delay="0"/>
                                          </p:stCondLst>
                                        </p:cTn>
                                        <p:tgtEl>
                                          <p:spTgt spid="12">
                                            <p:txEl>
                                              <p:pRg st="8" end="8"/>
                                            </p:txEl>
                                          </p:spTgt>
                                        </p:tgtEl>
                                        <p:attrNameLst>
                                          <p:attrName>style.visibility</p:attrName>
                                        </p:attrNameLst>
                                      </p:cBhvr>
                                      <p:to>
                                        <p:strVal val="visible"/>
                                      </p:to>
                                    </p:set>
                                    <p:animEffect transition="in" filter="barn(inVertical)">
                                      <p:cBhvr>
                                        <p:cTn id="16" dur="500"/>
                                        <p:tgtEl>
                                          <p:spTgt spid="12">
                                            <p:txEl>
                                              <p:pRg st="8" end="8"/>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6" presetClass="entr" presetSubtype="21" fill="hold" nodeType="clickEffect">
                                  <p:stCondLst>
                                    <p:cond delay="0"/>
                                  </p:stCondLst>
                                  <p:childTnLst>
                                    <p:set>
                                      <p:cBhvr>
                                        <p:cTn id="20" dur="1" fill="hold">
                                          <p:stCondLst>
                                            <p:cond delay="0"/>
                                          </p:stCondLst>
                                        </p:cTn>
                                        <p:tgtEl>
                                          <p:spTgt spid="7">
                                            <p:txEl>
                                              <p:pRg st="0" end="0"/>
                                            </p:txEl>
                                          </p:spTgt>
                                        </p:tgtEl>
                                        <p:attrNameLst>
                                          <p:attrName>style.visibility</p:attrName>
                                        </p:attrNameLst>
                                      </p:cBhvr>
                                      <p:to>
                                        <p:strVal val="visible"/>
                                      </p:to>
                                    </p:set>
                                    <p:animEffect transition="in" filter="barn(inVertical)">
                                      <p:cBhvr>
                                        <p:cTn id="21" dur="500"/>
                                        <p:tgtEl>
                                          <p:spTgt spid="7">
                                            <p:txEl>
                                              <p:pRg st="0" end="0"/>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6" presetClass="entr" presetSubtype="21" fill="hold" nodeType="clickEffect">
                                  <p:stCondLst>
                                    <p:cond delay="0"/>
                                  </p:stCondLst>
                                  <p:childTnLst>
                                    <p:set>
                                      <p:cBhvr>
                                        <p:cTn id="25" dur="1" fill="hold">
                                          <p:stCondLst>
                                            <p:cond delay="0"/>
                                          </p:stCondLst>
                                        </p:cTn>
                                        <p:tgtEl>
                                          <p:spTgt spid="7">
                                            <p:txEl>
                                              <p:pRg st="1" end="1"/>
                                            </p:txEl>
                                          </p:spTgt>
                                        </p:tgtEl>
                                        <p:attrNameLst>
                                          <p:attrName>style.visibility</p:attrName>
                                        </p:attrNameLst>
                                      </p:cBhvr>
                                      <p:to>
                                        <p:strVal val="visible"/>
                                      </p:to>
                                    </p:set>
                                    <p:animEffect transition="in" filter="barn(inVertical)">
                                      <p:cBhvr>
                                        <p:cTn id="26" dur="500"/>
                                        <p:tgtEl>
                                          <p:spTgt spid="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spid="_x0000_s307259"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5291" y="3902"/>
                        <a:ext cx="2116" cy="2116"/>
                      </a:xfrm>
                      <a:prstGeom prst="rect">
                        <a:avLst/>
                      </a:prstGeom>
                    </p:spPr>
                  </p:pic>
                </p:oleObj>
              </mc:Fallback>
            </mc:AlternateContent>
          </a:graphicData>
        </a:graphic>
      </p:graphicFrame>
      <p:sp>
        <p:nvSpPr>
          <p:cNvPr id="2" name="Rectángulo 1" hidden="1"/>
          <p:cNvSpPr/>
          <p:nvPr>
            <p:custDataLst>
              <p:tags r:id="rId3"/>
            </p:custDataLst>
          </p:nvPr>
        </p:nvSpPr>
        <p:spPr>
          <a:xfrm>
            <a:off x="3175" y="1786"/>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3198"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336001" y="649095"/>
            <a:ext cx="1871568" cy="403641"/>
          </a:xfrm>
        </p:spPr>
        <p:txBody>
          <a:bodyPr/>
          <a:lstStyle/>
          <a:p>
            <a:r>
              <a:rPr lang="it-IT" dirty="0"/>
              <a:t>Esempi</a:t>
            </a:r>
            <a:endParaRPr lang="en-US" dirty="0"/>
          </a:p>
        </p:txBody>
      </p:sp>
      <p:sp>
        <p:nvSpPr>
          <p:cNvPr id="5" name="Marcador de contenido 2">
            <a:extLst>
              <a:ext uri="{FF2B5EF4-FFF2-40B4-BE49-F238E27FC236}">
                <a16:creationId xmlns:a16="http://schemas.microsoft.com/office/drawing/2014/main" id="{8FFCB682-A2FC-CA4B-AF1F-9B44DC3872A4}"/>
              </a:ext>
            </a:extLst>
          </p:cNvPr>
          <p:cNvSpPr txBox="1">
            <a:spLocks/>
          </p:cNvSpPr>
          <p:nvPr/>
        </p:nvSpPr>
        <p:spPr>
          <a:xfrm>
            <a:off x="339005" y="1510007"/>
            <a:ext cx="8838145" cy="3359153"/>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0" marR="0" lvl="0" indent="0" algn="l" defTabSz="514337"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s-ES" sz="1800" b="0" i="0" u="none" strike="noStrike" kern="1200" cap="none" spc="0" normalizeH="0" baseline="0" noProof="0">
              <a:ln>
                <a:noFill/>
              </a:ln>
              <a:solidFill>
                <a:srgbClr val="1A3B47"/>
              </a:solidFill>
              <a:effectLst/>
              <a:uLnTx/>
              <a:uFillTx/>
              <a:latin typeface="Soho Gothic Pro Light"/>
              <a:ea typeface="+mn-ea"/>
            </a:endParaRPr>
          </a:p>
        </p:txBody>
      </p:sp>
      <p:sp>
        <p:nvSpPr>
          <p:cNvPr id="10" name="Marcador de contenido 2">
            <a:extLst>
              <a:ext uri="{FF2B5EF4-FFF2-40B4-BE49-F238E27FC236}">
                <a16:creationId xmlns:a16="http://schemas.microsoft.com/office/drawing/2014/main" id="{8FFCB682-A2FC-CA4B-AF1F-9B44DC3872A4}"/>
              </a:ext>
            </a:extLst>
          </p:cNvPr>
          <p:cNvSpPr txBox="1">
            <a:spLocks/>
          </p:cNvSpPr>
          <p:nvPr/>
        </p:nvSpPr>
        <p:spPr>
          <a:xfrm>
            <a:off x="334811" y="1510007"/>
            <a:ext cx="8838145" cy="1342930"/>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0" marR="0" lvl="0" indent="0" algn="l" defTabSz="514337"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it-IT" sz="1800" b="0" i="0" u="none" strike="noStrike" kern="1200" cap="none" spc="0" normalizeH="0" baseline="0" noProof="0">
              <a:ln>
                <a:noFill/>
              </a:ln>
              <a:solidFill>
                <a:srgbClr val="1A3B47"/>
              </a:solidFill>
              <a:effectLst/>
              <a:uLnTx/>
              <a:uFillTx/>
              <a:latin typeface="Soho Gothic Pro Light"/>
              <a:ea typeface="+mn-ea"/>
            </a:endParaRPr>
          </a:p>
        </p:txBody>
      </p:sp>
      <p:sp>
        <p:nvSpPr>
          <p:cNvPr id="11" name="Marcador de contenido 2">
            <a:extLst>
              <a:ext uri="{FF2B5EF4-FFF2-40B4-BE49-F238E27FC236}">
                <a16:creationId xmlns:a16="http://schemas.microsoft.com/office/drawing/2014/main" id="{8FFCB682-A2FC-CA4B-AF1F-9B44DC3872A4}"/>
              </a:ext>
            </a:extLst>
          </p:cNvPr>
          <p:cNvSpPr txBox="1">
            <a:spLocks/>
          </p:cNvSpPr>
          <p:nvPr/>
        </p:nvSpPr>
        <p:spPr>
          <a:xfrm>
            <a:off x="334811" y="1510007"/>
            <a:ext cx="11305805" cy="4151241"/>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171450" marR="0" lvl="0" indent="-171450" algn="l" defTabSz="514337" rtl="0" eaLnBrk="1" fontAlgn="auto" latinLnBrk="0" hangingPunct="1">
              <a:lnSpc>
                <a:spcPct val="100000"/>
              </a:lnSpc>
              <a:spcBef>
                <a:spcPts val="600"/>
              </a:spcBef>
              <a:spcAft>
                <a:spcPts val="0"/>
              </a:spcAft>
              <a:buClrTx/>
              <a:buSzTx/>
              <a:buFont typeface="Wingdings" panose="05000000000000000000" pitchFamily="2" charset="2"/>
              <a:buChar char="§"/>
              <a:tabLst/>
              <a:defRPr/>
            </a:pPr>
            <a:endParaRPr kumimoji="0" lang="es-ES" sz="1800" b="0" i="0" u="none" strike="noStrike" kern="1200" cap="none" spc="0" normalizeH="0" baseline="0" noProof="0" dirty="0">
              <a:ln>
                <a:noFill/>
              </a:ln>
              <a:solidFill>
                <a:srgbClr val="1A3B47"/>
              </a:solidFill>
              <a:effectLst/>
              <a:uLnTx/>
              <a:uFillTx/>
              <a:latin typeface="Soho Gothic Pro Light"/>
              <a:ea typeface="+mn-ea"/>
            </a:endParaRPr>
          </a:p>
        </p:txBody>
      </p:sp>
      <p:sp>
        <p:nvSpPr>
          <p:cNvPr id="4" name="Rettangolo 3"/>
          <p:cNvSpPr/>
          <p:nvPr/>
        </p:nvSpPr>
        <p:spPr>
          <a:xfrm>
            <a:off x="339005" y="1510007"/>
            <a:ext cx="9865645" cy="646331"/>
          </a:xfrm>
          <a:prstGeom prst="rect">
            <a:avLst/>
          </a:prstGeom>
        </p:spPr>
        <p:txBody>
          <a:bodyPr wrap="square" lIns="91440" tIns="45720" rIns="91440" bIns="45720" anchor="t">
            <a:spAutoFit/>
          </a:bodyPr>
          <a:lstStyle/>
          <a:p>
            <a:endParaRPr lang="it-IT" sz="1800" dirty="0">
              <a:latin typeface="CMR10"/>
            </a:endParaRPr>
          </a:p>
          <a:p>
            <a:endParaRPr lang="it-IT" sz="1800" dirty="0">
              <a:latin typeface="CMR10"/>
            </a:endParaRPr>
          </a:p>
        </p:txBody>
      </p:sp>
      <p:sp>
        <p:nvSpPr>
          <p:cNvPr id="8" name="Segnaposto testo 7">
            <a:extLst>
              <a:ext uri="{FF2B5EF4-FFF2-40B4-BE49-F238E27FC236}">
                <a16:creationId xmlns:a16="http://schemas.microsoft.com/office/drawing/2014/main" id="{AECA5DBF-0B08-4ED4-8B86-55FCA257C0AF}"/>
              </a:ext>
            </a:extLst>
          </p:cNvPr>
          <p:cNvSpPr>
            <a:spLocks noGrp="1"/>
          </p:cNvSpPr>
          <p:nvPr>
            <p:ph type="body" sz="quarter" idx="13"/>
          </p:nvPr>
        </p:nvSpPr>
        <p:spPr/>
        <p:txBody>
          <a:bodyPr/>
          <a:lstStyle/>
          <a:p>
            <a:endParaRPr lang="it-IT"/>
          </a:p>
        </p:txBody>
      </p:sp>
      <p:pic>
        <p:nvPicPr>
          <p:cNvPr id="6" name="Immagine 5">
            <a:extLst>
              <a:ext uri="{FF2B5EF4-FFF2-40B4-BE49-F238E27FC236}">
                <a16:creationId xmlns:a16="http://schemas.microsoft.com/office/drawing/2014/main" id="{EB7F6EF7-EB57-4C90-9EE4-1F56F19F1C26}"/>
              </a:ext>
            </a:extLst>
          </p:cNvPr>
          <p:cNvPicPr>
            <a:picLocks noChangeAspect="1"/>
          </p:cNvPicPr>
          <p:nvPr/>
        </p:nvPicPr>
        <p:blipFill>
          <a:blip r:embed="rId7"/>
          <a:stretch>
            <a:fillRect/>
          </a:stretch>
        </p:blipFill>
        <p:spPr>
          <a:xfrm>
            <a:off x="341206" y="1790658"/>
            <a:ext cx="10949612" cy="1311672"/>
          </a:xfrm>
          <a:prstGeom prst="rect">
            <a:avLst/>
          </a:prstGeom>
        </p:spPr>
      </p:pic>
      <p:sp>
        <p:nvSpPr>
          <p:cNvPr id="12" name="Rettangolo 11">
            <a:extLst>
              <a:ext uri="{FF2B5EF4-FFF2-40B4-BE49-F238E27FC236}">
                <a16:creationId xmlns:a16="http://schemas.microsoft.com/office/drawing/2014/main" id="{5493FEC3-1C3C-4896-8025-E76F4EDFFD6F}"/>
              </a:ext>
            </a:extLst>
          </p:cNvPr>
          <p:cNvSpPr/>
          <p:nvPr/>
        </p:nvSpPr>
        <p:spPr>
          <a:xfrm>
            <a:off x="341206" y="3352924"/>
            <a:ext cx="10949612" cy="2308324"/>
          </a:xfrm>
          <a:prstGeom prst="rect">
            <a:avLst/>
          </a:prstGeom>
        </p:spPr>
        <p:txBody>
          <a:bodyPr wrap="square" lIns="91440" tIns="45720" rIns="91440" bIns="45720" anchor="t">
            <a:spAutoFit/>
          </a:bodyPr>
          <a:lstStyle/>
          <a:p>
            <a:r>
              <a:rPr lang="it-IT" sz="1800" dirty="0">
                <a:latin typeface="CMR10"/>
              </a:rPr>
              <a:t>Matcha quando viene eseguito un qualsiasi metodo di una classe nel package </a:t>
            </a:r>
            <a:r>
              <a:rPr lang="it-IT" sz="1800" dirty="0" err="1">
                <a:latin typeface="CMR10"/>
              </a:rPr>
              <a:t>org.innovation.service</a:t>
            </a:r>
            <a:r>
              <a:rPr lang="it-IT" sz="1800" dirty="0">
                <a:latin typeface="CMR10"/>
              </a:rPr>
              <a:t>.</a:t>
            </a:r>
          </a:p>
          <a:p>
            <a:r>
              <a:rPr lang="it-IT" sz="1800" dirty="0">
                <a:latin typeface="CMR10"/>
              </a:rPr>
              <a:t>Il carattere ‘*’ è un carattere jolly</a:t>
            </a:r>
          </a:p>
          <a:p>
            <a:endParaRPr lang="it-IT" sz="1800" dirty="0">
              <a:latin typeface="CMR10"/>
            </a:endParaRPr>
          </a:p>
          <a:p>
            <a:pPr marL="342900" indent="-342900">
              <a:buAutoNum type="arabicParenR"/>
            </a:pPr>
            <a:r>
              <a:rPr lang="it-IT" sz="1800" dirty="0">
                <a:latin typeface="CMR10"/>
              </a:rPr>
              <a:t>Visibilità</a:t>
            </a:r>
          </a:p>
          <a:p>
            <a:pPr marL="342900" indent="-342900">
              <a:buAutoNum type="arabicParenR"/>
            </a:pPr>
            <a:r>
              <a:rPr lang="it-IT" sz="1800" dirty="0">
                <a:latin typeface="CMR10"/>
              </a:rPr>
              <a:t>Classe</a:t>
            </a:r>
          </a:p>
          <a:p>
            <a:pPr marL="342900" indent="-342900">
              <a:buAutoNum type="arabicParenR"/>
            </a:pPr>
            <a:r>
              <a:rPr lang="it-IT" sz="1800" dirty="0">
                <a:latin typeface="CMR10"/>
              </a:rPr>
              <a:t>Metodo</a:t>
            </a:r>
          </a:p>
          <a:p>
            <a:pPr marL="342900" indent="-342900">
              <a:buAutoNum type="arabicParenR"/>
            </a:pPr>
            <a:r>
              <a:rPr lang="it-IT" sz="1800" dirty="0">
                <a:latin typeface="CMR10"/>
              </a:rPr>
              <a:t>Argomenti</a:t>
            </a:r>
          </a:p>
          <a:p>
            <a:endParaRPr lang="it-IT" sz="1800" dirty="0">
              <a:latin typeface="CMR10"/>
            </a:endParaRPr>
          </a:p>
        </p:txBody>
      </p:sp>
      <p:sp>
        <p:nvSpPr>
          <p:cNvPr id="7" name="CasellaDiTesto 6">
            <a:extLst>
              <a:ext uri="{FF2B5EF4-FFF2-40B4-BE49-F238E27FC236}">
                <a16:creationId xmlns:a16="http://schemas.microsoft.com/office/drawing/2014/main" id="{25D05E67-7A86-4885-BAD5-C843E50BB1F6}"/>
              </a:ext>
            </a:extLst>
          </p:cNvPr>
          <p:cNvSpPr txBox="1"/>
          <p:nvPr/>
        </p:nvSpPr>
        <p:spPr>
          <a:xfrm>
            <a:off x="4416676" y="1722847"/>
            <a:ext cx="331076" cy="369204"/>
          </a:xfrm>
          <a:prstGeom prst="rect">
            <a:avLst/>
          </a:prstGeom>
          <a:noFill/>
        </p:spPr>
        <p:txBody>
          <a:bodyPr wrap="square" rtlCol="0">
            <a:spAutoFit/>
          </a:bodyPr>
          <a:lstStyle/>
          <a:p>
            <a:r>
              <a:rPr lang="it-IT" dirty="0">
                <a:solidFill>
                  <a:schemeClr val="bg1">
                    <a:lumMod val="95000"/>
                  </a:schemeClr>
                </a:solidFill>
              </a:rPr>
              <a:t>1</a:t>
            </a:r>
          </a:p>
        </p:txBody>
      </p:sp>
      <p:sp>
        <p:nvSpPr>
          <p:cNvPr id="13" name="CasellaDiTesto 12">
            <a:extLst>
              <a:ext uri="{FF2B5EF4-FFF2-40B4-BE49-F238E27FC236}">
                <a16:creationId xmlns:a16="http://schemas.microsoft.com/office/drawing/2014/main" id="{41404BAD-FEE8-4270-9D23-10B3BEE7557F}"/>
              </a:ext>
            </a:extLst>
          </p:cNvPr>
          <p:cNvSpPr txBox="1"/>
          <p:nvPr/>
        </p:nvSpPr>
        <p:spPr>
          <a:xfrm>
            <a:off x="9156499" y="1726314"/>
            <a:ext cx="331076" cy="369204"/>
          </a:xfrm>
          <a:prstGeom prst="rect">
            <a:avLst/>
          </a:prstGeom>
          <a:noFill/>
        </p:spPr>
        <p:txBody>
          <a:bodyPr wrap="square" rtlCol="0">
            <a:spAutoFit/>
          </a:bodyPr>
          <a:lstStyle/>
          <a:p>
            <a:r>
              <a:rPr lang="it-IT" dirty="0">
                <a:solidFill>
                  <a:schemeClr val="bg1">
                    <a:lumMod val="95000"/>
                  </a:schemeClr>
                </a:solidFill>
              </a:rPr>
              <a:t>2</a:t>
            </a:r>
          </a:p>
        </p:txBody>
      </p:sp>
      <p:sp>
        <p:nvSpPr>
          <p:cNvPr id="14" name="CasellaDiTesto 13">
            <a:extLst>
              <a:ext uri="{FF2B5EF4-FFF2-40B4-BE49-F238E27FC236}">
                <a16:creationId xmlns:a16="http://schemas.microsoft.com/office/drawing/2014/main" id="{6207E54C-3FA2-4FFA-938C-2030EA2E04DA}"/>
              </a:ext>
            </a:extLst>
          </p:cNvPr>
          <p:cNvSpPr txBox="1"/>
          <p:nvPr/>
        </p:nvSpPr>
        <p:spPr>
          <a:xfrm>
            <a:off x="9549401" y="1722847"/>
            <a:ext cx="331076" cy="369204"/>
          </a:xfrm>
          <a:prstGeom prst="rect">
            <a:avLst/>
          </a:prstGeom>
          <a:noFill/>
        </p:spPr>
        <p:txBody>
          <a:bodyPr wrap="square" rtlCol="0">
            <a:spAutoFit/>
          </a:bodyPr>
          <a:lstStyle/>
          <a:p>
            <a:r>
              <a:rPr lang="it-IT" dirty="0">
                <a:solidFill>
                  <a:schemeClr val="bg1">
                    <a:lumMod val="95000"/>
                  </a:schemeClr>
                </a:solidFill>
              </a:rPr>
              <a:t>3</a:t>
            </a:r>
          </a:p>
        </p:txBody>
      </p:sp>
      <p:sp>
        <p:nvSpPr>
          <p:cNvPr id="15" name="CasellaDiTesto 14">
            <a:extLst>
              <a:ext uri="{FF2B5EF4-FFF2-40B4-BE49-F238E27FC236}">
                <a16:creationId xmlns:a16="http://schemas.microsoft.com/office/drawing/2014/main" id="{93486F84-F0C6-4DCD-97FA-B1F690183FC3}"/>
              </a:ext>
            </a:extLst>
          </p:cNvPr>
          <p:cNvSpPr txBox="1"/>
          <p:nvPr/>
        </p:nvSpPr>
        <p:spPr>
          <a:xfrm>
            <a:off x="9990510" y="1730954"/>
            <a:ext cx="331076" cy="369204"/>
          </a:xfrm>
          <a:prstGeom prst="rect">
            <a:avLst/>
          </a:prstGeom>
          <a:noFill/>
        </p:spPr>
        <p:txBody>
          <a:bodyPr wrap="square" rtlCol="0">
            <a:spAutoFit/>
          </a:bodyPr>
          <a:lstStyle/>
          <a:p>
            <a:r>
              <a:rPr lang="it-IT" dirty="0">
                <a:solidFill>
                  <a:schemeClr val="bg1">
                    <a:lumMod val="95000"/>
                  </a:schemeClr>
                </a:solidFill>
              </a:rPr>
              <a:t>4</a:t>
            </a:r>
          </a:p>
        </p:txBody>
      </p:sp>
      <p:sp>
        <p:nvSpPr>
          <p:cNvPr id="16" name="CasellaDiTesto 15">
            <a:extLst>
              <a:ext uri="{FF2B5EF4-FFF2-40B4-BE49-F238E27FC236}">
                <a16:creationId xmlns:a16="http://schemas.microsoft.com/office/drawing/2014/main" id="{8B8CE5BF-396C-4E2D-992C-AA21469E69F2}"/>
              </a:ext>
            </a:extLst>
          </p:cNvPr>
          <p:cNvSpPr txBox="1"/>
          <p:nvPr/>
        </p:nvSpPr>
        <p:spPr>
          <a:xfrm>
            <a:off x="334811" y="1100553"/>
            <a:ext cx="11519451" cy="3616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sz="1750" b="1" noProof="1">
                <a:ea typeface="+mn-lt"/>
                <a:cs typeface="+mn-lt"/>
              </a:rPr>
              <a:t>execution(method)</a:t>
            </a:r>
            <a:endParaRPr lang="en-US" sz="1750" i="1" noProof="1">
              <a:ea typeface="+mn-lt"/>
              <a:cs typeface="+mn-lt"/>
            </a:endParaRPr>
          </a:p>
        </p:txBody>
      </p:sp>
    </p:spTree>
    <p:extLst>
      <p:ext uri="{BB962C8B-B14F-4D97-AF65-F5344CB8AC3E}">
        <p14:creationId xmlns:p14="http://schemas.microsoft.com/office/powerpoint/2010/main" val="224119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nodePh="1">
                                  <p:stCondLst>
                                    <p:cond delay="0"/>
                                  </p:stCondLst>
                                  <p:endCondLst>
                                    <p:cond evt="begin" delay="0">
                                      <p:tn val="9"/>
                                    </p:cond>
                                  </p:end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nodePh="1">
                                  <p:stCondLst>
                                    <p:cond delay="0"/>
                                  </p:stCondLst>
                                  <p:endCondLst>
                                    <p:cond evt="begin" delay="0">
                                      <p:tn val="13"/>
                                    </p:cond>
                                  </p:end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0" grpId="0"/>
      <p:bldP spid="1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spid="_x0000_s309298"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5291" y="3902"/>
                        <a:ext cx="2116" cy="2116"/>
                      </a:xfrm>
                      <a:prstGeom prst="rect">
                        <a:avLst/>
                      </a:prstGeom>
                    </p:spPr>
                  </p:pic>
                </p:oleObj>
              </mc:Fallback>
            </mc:AlternateContent>
          </a:graphicData>
        </a:graphic>
      </p:graphicFrame>
      <p:sp>
        <p:nvSpPr>
          <p:cNvPr id="2" name="Rectángulo 1" hidden="1"/>
          <p:cNvSpPr/>
          <p:nvPr>
            <p:custDataLst>
              <p:tags r:id="rId3"/>
            </p:custDataLst>
          </p:nvPr>
        </p:nvSpPr>
        <p:spPr>
          <a:xfrm>
            <a:off x="3175" y="1786"/>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3198"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336001" y="649095"/>
            <a:ext cx="1871568" cy="403641"/>
          </a:xfrm>
        </p:spPr>
        <p:txBody>
          <a:bodyPr/>
          <a:lstStyle/>
          <a:p>
            <a:r>
              <a:rPr lang="it-IT" dirty="0"/>
              <a:t>Esempi</a:t>
            </a:r>
            <a:endParaRPr lang="en-US" dirty="0"/>
          </a:p>
        </p:txBody>
      </p:sp>
      <p:sp>
        <p:nvSpPr>
          <p:cNvPr id="10" name="Marcador de contenido 2">
            <a:extLst>
              <a:ext uri="{FF2B5EF4-FFF2-40B4-BE49-F238E27FC236}">
                <a16:creationId xmlns:a16="http://schemas.microsoft.com/office/drawing/2014/main" id="{8FFCB682-A2FC-CA4B-AF1F-9B44DC3872A4}"/>
              </a:ext>
            </a:extLst>
          </p:cNvPr>
          <p:cNvSpPr txBox="1">
            <a:spLocks/>
          </p:cNvSpPr>
          <p:nvPr/>
        </p:nvSpPr>
        <p:spPr>
          <a:xfrm>
            <a:off x="334811" y="1510007"/>
            <a:ext cx="8838145" cy="1342930"/>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0" marR="0" lvl="0" indent="0" algn="l" defTabSz="514337"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it-IT" sz="1800" b="0" i="0" u="none" strike="noStrike" kern="1200" cap="none" spc="0" normalizeH="0" baseline="0" noProof="0">
              <a:ln>
                <a:noFill/>
              </a:ln>
              <a:solidFill>
                <a:srgbClr val="1A3B47"/>
              </a:solidFill>
              <a:effectLst/>
              <a:uLnTx/>
              <a:uFillTx/>
              <a:latin typeface="Soho Gothic Pro Light"/>
              <a:ea typeface="+mn-ea"/>
            </a:endParaRPr>
          </a:p>
        </p:txBody>
      </p:sp>
      <p:sp>
        <p:nvSpPr>
          <p:cNvPr id="11" name="Marcador de contenido 2">
            <a:extLst>
              <a:ext uri="{FF2B5EF4-FFF2-40B4-BE49-F238E27FC236}">
                <a16:creationId xmlns:a16="http://schemas.microsoft.com/office/drawing/2014/main" id="{8FFCB682-A2FC-CA4B-AF1F-9B44DC3872A4}"/>
              </a:ext>
            </a:extLst>
          </p:cNvPr>
          <p:cNvSpPr txBox="1">
            <a:spLocks/>
          </p:cNvSpPr>
          <p:nvPr/>
        </p:nvSpPr>
        <p:spPr>
          <a:xfrm>
            <a:off x="334811" y="1510007"/>
            <a:ext cx="11305805" cy="4151241"/>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171450" marR="0" lvl="0" indent="-171450" algn="l" defTabSz="514337" rtl="0" eaLnBrk="1" fontAlgn="auto" latinLnBrk="0" hangingPunct="1">
              <a:lnSpc>
                <a:spcPct val="100000"/>
              </a:lnSpc>
              <a:spcBef>
                <a:spcPts val="600"/>
              </a:spcBef>
              <a:spcAft>
                <a:spcPts val="0"/>
              </a:spcAft>
              <a:buClrTx/>
              <a:buSzTx/>
              <a:buFont typeface="Wingdings" panose="05000000000000000000" pitchFamily="2" charset="2"/>
              <a:buChar char="§"/>
              <a:tabLst/>
              <a:defRPr/>
            </a:pPr>
            <a:endParaRPr kumimoji="0" lang="es-ES" sz="1800" b="0" i="0" u="none" strike="noStrike" kern="1200" cap="none" spc="0" normalizeH="0" baseline="0" noProof="0" dirty="0">
              <a:ln>
                <a:noFill/>
              </a:ln>
              <a:solidFill>
                <a:srgbClr val="1A3B47"/>
              </a:solidFill>
              <a:effectLst/>
              <a:uLnTx/>
              <a:uFillTx/>
              <a:latin typeface="Soho Gothic Pro Light"/>
              <a:ea typeface="+mn-ea"/>
            </a:endParaRPr>
          </a:p>
        </p:txBody>
      </p:sp>
      <p:sp>
        <p:nvSpPr>
          <p:cNvPr id="4" name="Rettangolo 3"/>
          <p:cNvSpPr/>
          <p:nvPr/>
        </p:nvSpPr>
        <p:spPr>
          <a:xfrm>
            <a:off x="339005" y="1510007"/>
            <a:ext cx="9865645" cy="646331"/>
          </a:xfrm>
          <a:prstGeom prst="rect">
            <a:avLst/>
          </a:prstGeom>
        </p:spPr>
        <p:txBody>
          <a:bodyPr wrap="square" lIns="91440" tIns="45720" rIns="91440" bIns="45720" anchor="t">
            <a:spAutoFit/>
          </a:bodyPr>
          <a:lstStyle/>
          <a:p>
            <a:endParaRPr lang="it-IT" sz="1800" dirty="0">
              <a:latin typeface="CMR10"/>
            </a:endParaRPr>
          </a:p>
          <a:p>
            <a:endParaRPr lang="it-IT" sz="1800" dirty="0">
              <a:latin typeface="CMR10"/>
            </a:endParaRPr>
          </a:p>
        </p:txBody>
      </p:sp>
      <p:sp>
        <p:nvSpPr>
          <p:cNvPr id="8" name="Segnaposto testo 7">
            <a:extLst>
              <a:ext uri="{FF2B5EF4-FFF2-40B4-BE49-F238E27FC236}">
                <a16:creationId xmlns:a16="http://schemas.microsoft.com/office/drawing/2014/main" id="{AECA5DBF-0B08-4ED4-8B86-55FCA257C0AF}"/>
              </a:ext>
            </a:extLst>
          </p:cNvPr>
          <p:cNvSpPr>
            <a:spLocks noGrp="1"/>
          </p:cNvSpPr>
          <p:nvPr>
            <p:ph type="body" sz="quarter" idx="13"/>
          </p:nvPr>
        </p:nvSpPr>
        <p:spPr/>
        <p:txBody>
          <a:bodyPr/>
          <a:lstStyle/>
          <a:p>
            <a:endParaRPr lang="it-IT"/>
          </a:p>
        </p:txBody>
      </p:sp>
      <p:sp>
        <p:nvSpPr>
          <p:cNvPr id="12" name="Rettangolo 11">
            <a:extLst>
              <a:ext uri="{FF2B5EF4-FFF2-40B4-BE49-F238E27FC236}">
                <a16:creationId xmlns:a16="http://schemas.microsoft.com/office/drawing/2014/main" id="{5493FEC3-1C3C-4896-8025-E76F4EDFFD6F}"/>
              </a:ext>
            </a:extLst>
          </p:cNvPr>
          <p:cNvSpPr/>
          <p:nvPr/>
        </p:nvSpPr>
        <p:spPr>
          <a:xfrm>
            <a:off x="330616" y="3059668"/>
            <a:ext cx="10949612" cy="369332"/>
          </a:xfrm>
          <a:prstGeom prst="rect">
            <a:avLst/>
          </a:prstGeom>
        </p:spPr>
        <p:txBody>
          <a:bodyPr wrap="square" lIns="91440" tIns="45720" rIns="91440" bIns="45720" anchor="t">
            <a:spAutoFit/>
          </a:bodyPr>
          <a:lstStyle/>
          <a:p>
            <a:r>
              <a:rPr lang="it-IT" sz="1800" dirty="0">
                <a:latin typeface="CMR10"/>
              </a:rPr>
              <a:t>Matcha quando viene eseguito un qualsiasi metodo all’interno di </a:t>
            </a:r>
            <a:r>
              <a:rPr lang="it-IT" sz="1800" dirty="0" err="1">
                <a:latin typeface="CMR10"/>
              </a:rPr>
              <a:t>PersonaController</a:t>
            </a:r>
            <a:endParaRPr lang="it-IT" sz="1800" dirty="0">
              <a:latin typeface="CMR10"/>
            </a:endParaRPr>
          </a:p>
        </p:txBody>
      </p:sp>
      <p:sp>
        <p:nvSpPr>
          <p:cNvPr id="7" name="CasellaDiTesto 6">
            <a:extLst>
              <a:ext uri="{FF2B5EF4-FFF2-40B4-BE49-F238E27FC236}">
                <a16:creationId xmlns:a16="http://schemas.microsoft.com/office/drawing/2014/main" id="{25D05E67-7A86-4885-BAD5-C843E50BB1F6}"/>
              </a:ext>
            </a:extLst>
          </p:cNvPr>
          <p:cNvSpPr txBox="1"/>
          <p:nvPr/>
        </p:nvSpPr>
        <p:spPr>
          <a:xfrm>
            <a:off x="4416676" y="1722847"/>
            <a:ext cx="331076" cy="369204"/>
          </a:xfrm>
          <a:prstGeom prst="rect">
            <a:avLst/>
          </a:prstGeom>
          <a:noFill/>
        </p:spPr>
        <p:txBody>
          <a:bodyPr wrap="square" rtlCol="0">
            <a:spAutoFit/>
          </a:bodyPr>
          <a:lstStyle/>
          <a:p>
            <a:r>
              <a:rPr lang="it-IT" dirty="0">
                <a:solidFill>
                  <a:schemeClr val="bg1">
                    <a:lumMod val="95000"/>
                  </a:schemeClr>
                </a:solidFill>
              </a:rPr>
              <a:t>1</a:t>
            </a:r>
          </a:p>
        </p:txBody>
      </p:sp>
      <p:sp>
        <p:nvSpPr>
          <p:cNvPr id="13" name="CasellaDiTesto 12">
            <a:extLst>
              <a:ext uri="{FF2B5EF4-FFF2-40B4-BE49-F238E27FC236}">
                <a16:creationId xmlns:a16="http://schemas.microsoft.com/office/drawing/2014/main" id="{41404BAD-FEE8-4270-9D23-10B3BEE7557F}"/>
              </a:ext>
            </a:extLst>
          </p:cNvPr>
          <p:cNvSpPr txBox="1"/>
          <p:nvPr/>
        </p:nvSpPr>
        <p:spPr>
          <a:xfrm>
            <a:off x="9156499" y="1726314"/>
            <a:ext cx="331076" cy="369204"/>
          </a:xfrm>
          <a:prstGeom prst="rect">
            <a:avLst/>
          </a:prstGeom>
          <a:noFill/>
        </p:spPr>
        <p:txBody>
          <a:bodyPr wrap="square" rtlCol="0">
            <a:spAutoFit/>
          </a:bodyPr>
          <a:lstStyle/>
          <a:p>
            <a:r>
              <a:rPr lang="it-IT" dirty="0">
                <a:solidFill>
                  <a:schemeClr val="bg1">
                    <a:lumMod val="95000"/>
                  </a:schemeClr>
                </a:solidFill>
              </a:rPr>
              <a:t>2</a:t>
            </a:r>
          </a:p>
        </p:txBody>
      </p:sp>
      <p:sp>
        <p:nvSpPr>
          <p:cNvPr id="14" name="CasellaDiTesto 13">
            <a:extLst>
              <a:ext uri="{FF2B5EF4-FFF2-40B4-BE49-F238E27FC236}">
                <a16:creationId xmlns:a16="http://schemas.microsoft.com/office/drawing/2014/main" id="{6207E54C-3FA2-4FFA-938C-2030EA2E04DA}"/>
              </a:ext>
            </a:extLst>
          </p:cNvPr>
          <p:cNvSpPr txBox="1"/>
          <p:nvPr/>
        </p:nvSpPr>
        <p:spPr>
          <a:xfrm>
            <a:off x="9549401" y="1722847"/>
            <a:ext cx="331076" cy="369204"/>
          </a:xfrm>
          <a:prstGeom prst="rect">
            <a:avLst/>
          </a:prstGeom>
          <a:noFill/>
        </p:spPr>
        <p:txBody>
          <a:bodyPr wrap="square" rtlCol="0">
            <a:spAutoFit/>
          </a:bodyPr>
          <a:lstStyle/>
          <a:p>
            <a:r>
              <a:rPr lang="it-IT" dirty="0">
                <a:solidFill>
                  <a:schemeClr val="bg1">
                    <a:lumMod val="95000"/>
                  </a:schemeClr>
                </a:solidFill>
              </a:rPr>
              <a:t>3</a:t>
            </a:r>
          </a:p>
        </p:txBody>
      </p:sp>
      <p:sp>
        <p:nvSpPr>
          <p:cNvPr id="15" name="CasellaDiTesto 14">
            <a:extLst>
              <a:ext uri="{FF2B5EF4-FFF2-40B4-BE49-F238E27FC236}">
                <a16:creationId xmlns:a16="http://schemas.microsoft.com/office/drawing/2014/main" id="{93486F84-F0C6-4DCD-97FA-B1F690183FC3}"/>
              </a:ext>
            </a:extLst>
          </p:cNvPr>
          <p:cNvSpPr txBox="1"/>
          <p:nvPr/>
        </p:nvSpPr>
        <p:spPr>
          <a:xfrm>
            <a:off x="9951095" y="1723071"/>
            <a:ext cx="331076" cy="369204"/>
          </a:xfrm>
          <a:prstGeom prst="rect">
            <a:avLst/>
          </a:prstGeom>
          <a:noFill/>
        </p:spPr>
        <p:txBody>
          <a:bodyPr wrap="square" rtlCol="0">
            <a:spAutoFit/>
          </a:bodyPr>
          <a:lstStyle/>
          <a:p>
            <a:r>
              <a:rPr lang="it-IT" dirty="0">
                <a:solidFill>
                  <a:schemeClr val="bg1">
                    <a:lumMod val="95000"/>
                  </a:schemeClr>
                </a:solidFill>
              </a:rPr>
              <a:t>4</a:t>
            </a:r>
          </a:p>
        </p:txBody>
      </p:sp>
      <p:pic>
        <p:nvPicPr>
          <p:cNvPr id="16" name="Immagine 15">
            <a:extLst>
              <a:ext uri="{FF2B5EF4-FFF2-40B4-BE49-F238E27FC236}">
                <a16:creationId xmlns:a16="http://schemas.microsoft.com/office/drawing/2014/main" id="{008A8922-6800-4A19-BE1F-AA75826AB754}"/>
              </a:ext>
            </a:extLst>
          </p:cNvPr>
          <p:cNvPicPr>
            <a:picLocks noChangeAspect="1"/>
          </p:cNvPicPr>
          <p:nvPr/>
        </p:nvPicPr>
        <p:blipFill>
          <a:blip r:embed="rId7"/>
          <a:stretch>
            <a:fillRect/>
          </a:stretch>
        </p:blipFill>
        <p:spPr>
          <a:xfrm>
            <a:off x="339005" y="1663977"/>
            <a:ext cx="10949611" cy="984722"/>
          </a:xfrm>
          <a:prstGeom prst="rect">
            <a:avLst/>
          </a:prstGeom>
        </p:spPr>
      </p:pic>
      <p:sp>
        <p:nvSpPr>
          <p:cNvPr id="17" name="CasellaDiTesto 16">
            <a:extLst>
              <a:ext uri="{FF2B5EF4-FFF2-40B4-BE49-F238E27FC236}">
                <a16:creationId xmlns:a16="http://schemas.microsoft.com/office/drawing/2014/main" id="{117D0D6A-0ED4-4403-8A86-49FFE307C6D3}"/>
              </a:ext>
            </a:extLst>
          </p:cNvPr>
          <p:cNvSpPr txBox="1"/>
          <p:nvPr/>
        </p:nvSpPr>
        <p:spPr>
          <a:xfrm>
            <a:off x="330616" y="1078648"/>
            <a:ext cx="11519451" cy="3616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sz="1750" b="1" noProof="1">
                <a:ea typeface="+mn-lt"/>
                <a:cs typeface="+mn-lt"/>
              </a:rPr>
              <a:t>within(type)</a:t>
            </a:r>
            <a:endParaRPr lang="en-US" sz="1750" i="1" noProof="1">
              <a:ea typeface="+mn-lt"/>
              <a:cs typeface="+mn-lt"/>
            </a:endParaRPr>
          </a:p>
        </p:txBody>
      </p:sp>
    </p:spTree>
    <p:extLst>
      <p:ext uri="{BB962C8B-B14F-4D97-AF65-F5344CB8AC3E}">
        <p14:creationId xmlns:p14="http://schemas.microsoft.com/office/powerpoint/2010/main" val="39297001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nodePh="1">
                                  <p:stCondLst>
                                    <p:cond delay="0"/>
                                  </p:stCondLst>
                                  <p:endCondLst>
                                    <p:cond evt="begin" delay="0">
                                      <p:tn val="5"/>
                                    </p:cond>
                                  </p:end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nodePh="1">
                                  <p:stCondLst>
                                    <p:cond delay="0"/>
                                  </p:stCondLst>
                                  <p:endCondLst>
                                    <p:cond evt="begin" delay="0">
                                      <p:tn val="9"/>
                                    </p:cond>
                                  </p:end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spid="_x0000_s308280"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5291" y="3902"/>
                        <a:ext cx="2116" cy="2116"/>
                      </a:xfrm>
                      <a:prstGeom prst="rect">
                        <a:avLst/>
                      </a:prstGeom>
                    </p:spPr>
                  </p:pic>
                </p:oleObj>
              </mc:Fallback>
            </mc:AlternateContent>
          </a:graphicData>
        </a:graphic>
      </p:graphicFrame>
      <p:sp>
        <p:nvSpPr>
          <p:cNvPr id="2" name="Rectángulo 1" hidden="1"/>
          <p:cNvSpPr/>
          <p:nvPr>
            <p:custDataLst>
              <p:tags r:id="rId3"/>
            </p:custDataLst>
          </p:nvPr>
        </p:nvSpPr>
        <p:spPr>
          <a:xfrm>
            <a:off x="3175" y="1786"/>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3198"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336001" y="649095"/>
            <a:ext cx="1871568" cy="403641"/>
          </a:xfrm>
        </p:spPr>
        <p:txBody>
          <a:bodyPr/>
          <a:lstStyle/>
          <a:p>
            <a:r>
              <a:rPr lang="it-IT" dirty="0"/>
              <a:t>Esempi</a:t>
            </a:r>
            <a:endParaRPr lang="en-US" dirty="0"/>
          </a:p>
        </p:txBody>
      </p:sp>
      <p:sp>
        <p:nvSpPr>
          <p:cNvPr id="5" name="Marcador de contenido 2">
            <a:extLst>
              <a:ext uri="{FF2B5EF4-FFF2-40B4-BE49-F238E27FC236}">
                <a16:creationId xmlns:a16="http://schemas.microsoft.com/office/drawing/2014/main" id="{8FFCB682-A2FC-CA4B-AF1F-9B44DC3872A4}"/>
              </a:ext>
            </a:extLst>
          </p:cNvPr>
          <p:cNvSpPr txBox="1">
            <a:spLocks/>
          </p:cNvSpPr>
          <p:nvPr/>
        </p:nvSpPr>
        <p:spPr>
          <a:xfrm>
            <a:off x="339005" y="1510007"/>
            <a:ext cx="8838145" cy="3359153"/>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0" marR="0" lvl="0" indent="0" algn="l" defTabSz="514337"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s-ES" sz="1800" b="0" i="0" u="none" strike="noStrike" kern="1200" cap="none" spc="0" normalizeH="0" baseline="0" noProof="0">
              <a:ln>
                <a:noFill/>
              </a:ln>
              <a:solidFill>
                <a:srgbClr val="1A3B47"/>
              </a:solidFill>
              <a:effectLst/>
              <a:uLnTx/>
              <a:uFillTx/>
              <a:latin typeface="Soho Gothic Pro Light"/>
              <a:ea typeface="+mn-ea"/>
            </a:endParaRPr>
          </a:p>
        </p:txBody>
      </p:sp>
      <p:sp>
        <p:nvSpPr>
          <p:cNvPr id="10" name="Marcador de contenido 2">
            <a:extLst>
              <a:ext uri="{FF2B5EF4-FFF2-40B4-BE49-F238E27FC236}">
                <a16:creationId xmlns:a16="http://schemas.microsoft.com/office/drawing/2014/main" id="{8FFCB682-A2FC-CA4B-AF1F-9B44DC3872A4}"/>
              </a:ext>
            </a:extLst>
          </p:cNvPr>
          <p:cNvSpPr txBox="1">
            <a:spLocks/>
          </p:cNvSpPr>
          <p:nvPr/>
        </p:nvSpPr>
        <p:spPr>
          <a:xfrm>
            <a:off x="334811" y="1510007"/>
            <a:ext cx="8838145" cy="1342930"/>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0" marR="0" lvl="0" indent="0" algn="l" defTabSz="514337"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it-IT" sz="1800" b="0" i="0" u="none" strike="noStrike" kern="1200" cap="none" spc="0" normalizeH="0" baseline="0" noProof="0">
              <a:ln>
                <a:noFill/>
              </a:ln>
              <a:solidFill>
                <a:srgbClr val="1A3B47"/>
              </a:solidFill>
              <a:effectLst/>
              <a:uLnTx/>
              <a:uFillTx/>
              <a:latin typeface="Soho Gothic Pro Light"/>
              <a:ea typeface="+mn-ea"/>
            </a:endParaRPr>
          </a:p>
        </p:txBody>
      </p:sp>
      <p:sp>
        <p:nvSpPr>
          <p:cNvPr id="11" name="Marcador de contenido 2">
            <a:extLst>
              <a:ext uri="{FF2B5EF4-FFF2-40B4-BE49-F238E27FC236}">
                <a16:creationId xmlns:a16="http://schemas.microsoft.com/office/drawing/2014/main" id="{8FFCB682-A2FC-CA4B-AF1F-9B44DC3872A4}"/>
              </a:ext>
            </a:extLst>
          </p:cNvPr>
          <p:cNvSpPr txBox="1">
            <a:spLocks/>
          </p:cNvSpPr>
          <p:nvPr/>
        </p:nvSpPr>
        <p:spPr>
          <a:xfrm>
            <a:off x="334811" y="1510007"/>
            <a:ext cx="11305805" cy="4151241"/>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171450" marR="0" lvl="0" indent="-171450" algn="l" defTabSz="514337" rtl="0" eaLnBrk="1" fontAlgn="auto" latinLnBrk="0" hangingPunct="1">
              <a:lnSpc>
                <a:spcPct val="100000"/>
              </a:lnSpc>
              <a:spcBef>
                <a:spcPts val="600"/>
              </a:spcBef>
              <a:spcAft>
                <a:spcPts val="0"/>
              </a:spcAft>
              <a:buClrTx/>
              <a:buSzTx/>
              <a:buFont typeface="Wingdings" panose="05000000000000000000" pitchFamily="2" charset="2"/>
              <a:buChar char="§"/>
              <a:tabLst/>
              <a:defRPr/>
            </a:pPr>
            <a:endParaRPr kumimoji="0" lang="es-ES" sz="1800" b="0" i="0" u="none" strike="noStrike" kern="1200" cap="none" spc="0" normalizeH="0" baseline="0" noProof="0" dirty="0">
              <a:ln>
                <a:noFill/>
              </a:ln>
              <a:solidFill>
                <a:srgbClr val="1A3B47"/>
              </a:solidFill>
              <a:effectLst/>
              <a:uLnTx/>
              <a:uFillTx/>
              <a:latin typeface="Soho Gothic Pro Light"/>
              <a:ea typeface="+mn-ea"/>
            </a:endParaRPr>
          </a:p>
        </p:txBody>
      </p:sp>
      <p:sp>
        <p:nvSpPr>
          <p:cNvPr id="4" name="Rettangolo 3"/>
          <p:cNvSpPr/>
          <p:nvPr/>
        </p:nvSpPr>
        <p:spPr>
          <a:xfrm>
            <a:off x="339005" y="1510007"/>
            <a:ext cx="9865645" cy="646331"/>
          </a:xfrm>
          <a:prstGeom prst="rect">
            <a:avLst/>
          </a:prstGeom>
        </p:spPr>
        <p:txBody>
          <a:bodyPr wrap="square" lIns="91440" tIns="45720" rIns="91440" bIns="45720" anchor="t">
            <a:spAutoFit/>
          </a:bodyPr>
          <a:lstStyle/>
          <a:p>
            <a:endParaRPr lang="it-IT" sz="1800" dirty="0">
              <a:latin typeface="CMR10"/>
            </a:endParaRPr>
          </a:p>
          <a:p>
            <a:endParaRPr lang="it-IT" sz="1800" dirty="0">
              <a:latin typeface="CMR10"/>
            </a:endParaRPr>
          </a:p>
        </p:txBody>
      </p:sp>
      <p:sp>
        <p:nvSpPr>
          <p:cNvPr id="8" name="Segnaposto testo 7">
            <a:extLst>
              <a:ext uri="{FF2B5EF4-FFF2-40B4-BE49-F238E27FC236}">
                <a16:creationId xmlns:a16="http://schemas.microsoft.com/office/drawing/2014/main" id="{AECA5DBF-0B08-4ED4-8B86-55FCA257C0AF}"/>
              </a:ext>
            </a:extLst>
          </p:cNvPr>
          <p:cNvSpPr>
            <a:spLocks noGrp="1"/>
          </p:cNvSpPr>
          <p:nvPr>
            <p:ph type="body" sz="quarter" idx="13"/>
          </p:nvPr>
        </p:nvSpPr>
        <p:spPr/>
        <p:txBody>
          <a:bodyPr/>
          <a:lstStyle/>
          <a:p>
            <a:endParaRPr lang="it-IT"/>
          </a:p>
        </p:txBody>
      </p:sp>
      <p:sp>
        <p:nvSpPr>
          <p:cNvPr id="12" name="Rettangolo 11">
            <a:extLst>
              <a:ext uri="{FF2B5EF4-FFF2-40B4-BE49-F238E27FC236}">
                <a16:creationId xmlns:a16="http://schemas.microsoft.com/office/drawing/2014/main" id="{5493FEC3-1C3C-4896-8025-E76F4EDFFD6F}"/>
              </a:ext>
            </a:extLst>
          </p:cNvPr>
          <p:cNvSpPr/>
          <p:nvPr/>
        </p:nvSpPr>
        <p:spPr>
          <a:xfrm>
            <a:off x="343199" y="3262461"/>
            <a:ext cx="10949612" cy="646331"/>
          </a:xfrm>
          <a:prstGeom prst="rect">
            <a:avLst/>
          </a:prstGeom>
        </p:spPr>
        <p:txBody>
          <a:bodyPr wrap="square" lIns="91440" tIns="45720" rIns="91440" bIns="45720" anchor="t">
            <a:spAutoFit/>
          </a:bodyPr>
          <a:lstStyle/>
          <a:p>
            <a:r>
              <a:rPr lang="it-IT" sz="1800" dirty="0">
                <a:latin typeface="CMR10"/>
              </a:rPr>
              <a:t>Matcha quando l’istanza di </a:t>
            </a:r>
            <a:r>
              <a:rPr lang="it-IT" sz="1800" dirty="0" err="1">
                <a:latin typeface="CMR10"/>
              </a:rPr>
              <a:t>JpaRepository</a:t>
            </a:r>
            <a:r>
              <a:rPr lang="it-IT" sz="1800" dirty="0">
                <a:latin typeface="CMR10"/>
              </a:rPr>
              <a:t> esegue un qualsiasi metodo, si differenzia dal target perché è dal punto di vista del destinatario</a:t>
            </a:r>
          </a:p>
        </p:txBody>
      </p:sp>
      <p:sp>
        <p:nvSpPr>
          <p:cNvPr id="7" name="CasellaDiTesto 6">
            <a:extLst>
              <a:ext uri="{FF2B5EF4-FFF2-40B4-BE49-F238E27FC236}">
                <a16:creationId xmlns:a16="http://schemas.microsoft.com/office/drawing/2014/main" id="{25D05E67-7A86-4885-BAD5-C843E50BB1F6}"/>
              </a:ext>
            </a:extLst>
          </p:cNvPr>
          <p:cNvSpPr txBox="1"/>
          <p:nvPr/>
        </p:nvSpPr>
        <p:spPr>
          <a:xfrm>
            <a:off x="4416676" y="1722847"/>
            <a:ext cx="331076" cy="369204"/>
          </a:xfrm>
          <a:prstGeom prst="rect">
            <a:avLst/>
          </a:prstGeom>
          <a:noFill/>
        </p:spPr>
        <p:txBody>
          <a:bodyPr wrap="square" rtlCol="0">
            <a:spAutoFit/>
          </a:bodyPr>
          <a:lstStyle/>
          <a:p>
            <a:r>
              <a:rPr lang="it-IT" dirty="0">
                <a:solidFill>
                  <a:schemeClr val="bg1">
                    <a:lumMod val="95000"/>
                  </a:schemeClr>
                </a:solidFill>
              </a:rPr>
              <a:t>1</a:t>
            </a:r>
          </a:p>
        </p:txBody>
      </p:sp>
      <p:sp>
        <p:nvSpPr>
          <p:cNvPr id="13" name="CasellaDiTesto 12">
            <a:extLst>
              <a:ext uri="{FF2B5EF4-FFF2-40B4-BE49-F238E27FC236}">
                <a16:creationId xmlns:a16="http://schemas.microsoft.com/office/drawing/2014/main" id="{41404BAD-FEE8-4270-9D23-10B3BEE7557F}"/>
              </a:ext>
            </a:extLst>
          </p:cNvPr>
          <p:cNvSpPr txBox="1"/>
          <p:nvPr/>
        </p:nvSpPr>
        <p:spPr>
          <a:xfrm>
            <a:off x="9156499" y="1726314"/>
            <a:ext cx="331076" cy="369204"/>
          </a:xfrm>
          <a:prstGeom prst="rect">
            <a:avLst/>
          </a:prstGeom>
          <a:noFill/>
        </p:spPr>
        <p:txBody>
          <a:bodyPr wrap="square" rtlCol="0">
            <a:spAutoFit/>
          </a:bodyPr>
          <a:lstStyle/>
          <a:p>
            <a:r>
              <a:rPr lang="it-IT" dirty="0">
                <a:solidFill>
                  <a:schemeClr val="bg1">
                    <a:lumMod val="95000"/>
                  </a:schemeClr>
                </a:solidFill>
              </a:rPr>
              <a:t>2</a:t>
            </a:r>
          </a:p>
        </p:txBody>
      </p:sp>
      <p:sp>
        <p:nvSpPr>
          <p:cNvPr id="14" name="CasellaDiTesto 13">
            <a:extLst>
              <a:ext uri="{FF2B5EF4-FFF2-40B4-BE49-F238E27FC236}">
                <a16:creationId xmlns:a16="http://schemas.microsoft.com/office/drawing/2014/main" id="{6207E54C-3FA2-4FFA-938C-2030EA2E04DA}"/>
              </a:ext>
            </a:extLst>
          </p:cNvPr>
          <p:cNvSpPr txBox="1"/>
          <p:nvPr/>
        </p:nvSpPr>
        <p:spPr>
          <a:xfrm>
            <a:off x="9549401" y="1722847"/>
            <a:ext cx="331076" cy="369204"/>
          </a:xfrm>
          <a:prstGeom prst="rect">
            <a:avLst/>
          </a:prstGeom>
          <a:noFill/>
        </p:spPr>
        <p:txBody>
          <a:bodyPr wrap="square" rtlCol="0">
            <a:spAutoFit/>
          </a:bodyPr>
          <a:lstStyle/>
          <a:p>
            <a:r>
              <a:rPr lang="it-IT" dirty="0">
                <a:solidFill>
                  <a:schemeClr val="bg1">
                    <a:lumMod val="95000"/>
                  </a:schemeClr>
                </a:solidFill>
              </a:rPr>
              <a:t>3</a:t>
            </a:r>
          </a:p>
        </p:txBody>
      </p:sp>
      <p:sp>
        <p:nvSpPr>
          <p:cNvPr id="15" name="CasellaDiTesto 14">
            <a:extLst>
              <a:ext uri="{FF2B5EF4-FFF2-40B4-BE49-F238E27FC236}">
                <a16:creationId xmlns:a16="http://schemas.microsoft.com/office/drawing/2014/main" id="{93486F84-F0C6-4DCD-97FA-B1F690183FC3}"/>
              </a:ext>
            </a:extLst>
          </p:cNvPr>
          <p:cNvSpPr txBox="1"/>
          <p:nvPr/>
        </p:nvSpPr>
        <p:spPr>
          <a:xfrm>
            <a:off x="9951095" y="1723071"/>
            <a:ext cx="331076" cy="369204"/>
          </a:xfrm>
          <a:prstGeom prst="rect">
            <a:avLst/>
          </a:prstGeom>
          <a:noFill/>
        </p:spPr>
        <p:txBody>
          <a:bodyPr wrap="square" rtlCol="0">
            <a:spAutoFit/>
          </a:bodyPr>
          <a:lstStyle/>
          <a:p>
            <a:r>
              <a:rPr lang="it-IT" dirty="0">
                <a:solidFill>
                  <a:schemeClr val="bg1">
                    <a:lumMod val="95000"/>
                  </a:schemeClr>
                </a:solidFill>
              </a:rPr>
              <a:t>4</a:t>
            </a:r>
          </a:p>
        </p:txBody>
      </p:sp>
      <p:pic>
        <p:nvPicPr>
          <p:cNvPr id="16" name="Immagine 15">
            <a:extLst>
              <a:ext uri="{FF2B5EF4-FFF2-40B4-BE49-F238E27FC236}">
                <a16:creationId xmlns:a16="http://schemas.microsoft.com/office/drawing/2014/main" id="{80EB48B5-97CC-4090-A8F5-61CD257C8CB8}"/>
              </a:ext>
            </a:extLst>
          </p:cNvPr>
          <p:cNvPicPr>
            <a:picLocks noChangeAspect="1"/>
          </p:cNvPicPr>
          <p:nvPr/>
        </p:nvPicPr>
        <p:blipFill>
          <a:blip r:embed="rId7"/>
          <a:stretch>
            <a:fillRect/>
          </a:stretch>
        </p:blipFill>
        <p:spPr>
          <a:xfrm>
            <a:off x="339005" y="1591346"/>
            <a:ext cx="10958001" cy="1180252"/>
          </a:xfrm>
          <a:prstGeom prst="rect">
            <a:avLst/>
          </a:prstGeom>
        </p:spPr>
      </p:pic>
      <p:sp>
        <p:nvSpPr>
          <p:cNvPr id="17" name="CasellaDiTesto 16">
            <a:extLst>
              <a:ext uri="{FF2B5EF4-FFF2-40B4-BE49-F238E27FC236}">
                <a16:creationId xmlns:a16="http://schemas.microsoft.com/office/drawing/2014/main" id="{E6DB6AA5-7690-4A0F-A5F9-0A9FAC7A21C8}"/>
              </a:ext>
            </a:extLst>
          </p:cNvPr>
          <p:cNvSpPr txBox="1"/>
          <p:nvPr/>
        </p:nvSpPr>
        <p:spPr>
          <a:xfrm>
            <a:off x="330616" y="1078648"/>
            <a:ext cx="11519451" cy="3616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sz="1750" b="1" noProof="1">
                <a:ea typeface="+mn-lt"/>
                <a:cs typeface="+mn-lt"/>
              </a:rPr>
              <a:t>this(type)</a:t>
            </a:r>
            <a:endParaRPr lang="en-US" sz="1750" i="1" noProof="1">
              <a:ea typeface="+mn-lt"/>
              <a:cs typeface="+mn-lt"/>
            </a:endParaRPr>
          </a:p>
        </p:txBody>
      </p:sp>
    </p:spTree>
    <p:extLst>
      <p:ext uri="{BB962C8B-B14F-4D97-AF65-F5344CB8AC3E}">
        <p14:creationId xmlns:p14="http://schemas.microsoft.com/office/powerpoint/2010/main" val="10343901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spid="_x0000_s310320"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5291" y="3902"/>
                        <a:ext cx="2116" cy="2116"/>
                      </a:xfrm>
                      <a:prstGeom prst="rect">
                        <a:avLst/>
                      </a:prstGeom>
                    </p:spPr>
                  </p:pic>
                </p:oleObj>
              </mc:Fallback>
            </mc:AlternateContent>
          </a:graphicData>
        </a:graphic>
      </p:graphicFrame>
      <p:sp>
        <p:nvSpPr>
          <p:cNvPr id="2" name="Rectángulo 1" hidden="1"/>
          <p:cNvSpPr/>
          <p:nvPr>
            <p:custDataLst>
              <p:tags r:id="rId3"/>
            </p:custDataLst>
          </p:nvPr>
        </p:nvSpPr>
        <p:spPr>
          <a:xfrm>
            <a:off x="3175" y="1786"/>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3198"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336001" y="649095"/>
            <a:ext cx="1871568" cy="403641"/>
          </a:xfrm>
        </p:spPr>
        <p:txBody>
          <a:bodyPr/>
          <a:lstStyle/>
          <a:p>
            <a:r>
              <a:rPr lang="it-IT" dirty="0"/>
              <a:t>Esempi</a:t>
            </a:r>
            <a:endParaRPr lang="en-US" dirty="0"/>
          </a:p>
        </p:txBody>
      </p:sp>
      <p:sp>
        <p:nvSpPr>
          <p:cNvPr id="5" name="Marcador de contenido 2">
            <a:extLst>
              <a:ext uri="{FF2B5EF4-FFF2-40B4-BE49-F238E27FC236}">
                <a16:creationId xmlns:a16="http://schemas.microsoft.com/office/drawing/2014/main" id="{8FFCB682-A2FC-CA4B-AF1F-9B44DC3872A4}"/>
              </a:ext>
            </a:extLst>
          </p:cNvPr>
          <p:cNvSpPr txBox="1">
            <a:spLocks/>
          </p:cNvSpPr>
          <p:nvPr/>
        </p:nvSpPr>
        <p:spPr>
          <a:xfrm>
            <a:off x="339005" y="1510007"/>
            <a:ext cx="8838145" cy="3359153"/>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0" marR="0" lvl="0" indent="0" algn="l" defTabSz="514337"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s-ES" sz="1800" b="0" i="0" u="none" strike="noStrike" kern="1200" cap="none" spc="0" normalizeH="0" baseline="0" noProof="0">
              <a:ln>
                <a:noFill/>
              </a:ln>
              <a:solidFill>
                <a:srgbClr val="1A3B47"/>
              </a:solidFill>
              <a:effectLst/>
              <a:uLnTx/>
              <a:uFillTx/>
              <a:latin typeface="Soho Gothic Pro Light"/>
              <a:ea typeface="+mn-ea"/>
            </a:endParaRPr>
          </a:p>
        </p:txBody>
      </p:sp>
      <p:sp>
        <p:nvSpPr>
          <p:cNvPr id="10" name="Marcador de contenido 2">
            <a:extLst>
              <a:ext uri="{FF2B5EF4-FFF2-40B4-BE49-F238E27FC236}">
                <a16:creationId xmlns:a16="http://schemas.microsoft.com/office/drawing/2014/main" id="{8FFCB682-A2FC-CA4B-AF1F-9B44DC3872A4}"/>
              </a:ext>
            </a:extLst>
          </p:cNvPr>
          <p:cNvSpPr txBox="1">
            <a:spLocks/>
          </p:cNvSpPr>
          <p:nvPr/>
        </p:nvSpPr>
        <p:spPr>
          <a:xfrm>
            <a:off x="334811" y="1510007"/>
            <a:ext cx="8838145" cy="1342930"/>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0" marR="0" lvl="0" indent="0" algn="l" defTabSz="514337"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it-IT" sz="1800" b="0" i="0" u="none" strike="noStrike" kern="1200" cap="none" spc="0" normalizeH="0" baseline="0" noProof="0">
              <a:ln>
                <a:noFill/>
              </a:ln>
              <a:solidFill>
                <a:srgbClr val="1A3B47"/>
              </a:solidFill>
              <a:effectLst/>
              <a:uLnTx/>
              <a:uFillTx/>
              <a:latin typeface="Soho Gothic Pro Light"/>
              <a:ea typeface="+mn-ea"/>
            </a:endParaRPr>
          </a:p>
        </p:txBody>
      </p:sp>
      <p:sp>
        <p:nvSpPr>
          <p:cNvPr id="11" name="Marcador de contenido 2">
            <a:extLst>
              <a:ext uri="{FF2B5EF4-FFF2-40B4-BE49-F238E27FC236}">
                <a16:creationId xmlns:a16="http://schemas.microsoft.com/office/drawing/2014/main" id="{8FFCB682-A2FC-CA4B-AF1F-9B44DC3872A4}"/>
              </a:ext>
            </a:extLst>
          </p:cNvPr>
          <p:cNvSpPr txBox="1">
            <a:spLocks/>
          </p:cNvSpPr>
          <p:nvPr/>
        </p:nvSpPr>
        <p:spPr>
          <a:xfrm>
            <a:off x="334811" y="1510007"/>
            <a:ext cx="11305805" cy="4151241"/>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171450" marR="0" lvl="0" indent="-171450" algn="l" defTabSz="514337" rtl="0" eaLnBrk="1" fontAlgn="auto" latinLnBrk="0" hangingPunct="1">
              <a:lnSpc>
                <a:spcPct val="100000"/>
              </a:lnSpc>
              <a:spcBef>
                <a:spcPts val="600"/>
              </a:spcBef>
              <a:spcAft>
                <a:spcPts val="0"/>
              </a:spcAft>
              <a:buClrTx/>
              <a:buSzTx/>
              <a:buFont typeface="Wingdings" panose="05000000000000000000" pitchFamily="2" charset="2"/>
              <a:buChar char="§"/>
              <a:tabLst/>
              <a:defRPr/>
            </a:pPr>
            <a:endParaRPr kumimoji="0" lang="es-ES" sz="1800" b="0" i="0" u="none" strike="noStrike" kern="1200" cap="none" spc="0" normalizeH="0" baseline="0" noProof="0" dirty="0">
              <a:ln>
                <a:noFill/>
              </a:ln>
              <a:solidFill>
                <a:srgbClr val="1A3B47"/>
              </a:solidFill>
              <a:effectLst/>
              <a:uLnTx/>
              <a:uFillTx/>
              <a:latin typeface="Soho Gothic Pro Light"/>
              <a:ea typeface="+mn-ea"/>
            </a:endParaRPr>
          </a:p>
        </p:txBody>
      </p:sp>
      <p:sp>
        <p:nvSpPr>
          <p:cNvPr id="4" name="Rettangolo 3"/>
          <p:cNvSpPr/>
          <p:nvPr/>
        </p:nvSpPr>
        <p:spPr>
          <a:xfrm>
            <a:off x="339005" y="1510007"/>
            <a:ext cx="9865645" cy="646331"/>
          </a:xfrm>
          <a:prstGeom prst="rect">
            <a:avLst/>
          </a:prstGeom>
        </p:spPr>
        <p:txBody>
          <a:bodyPr wrap="square" lIns="91440" tIns="45720" rIns="91440" bIns="45720" anchor="t">
            <a:spAutoFit/>
          </a:bodyPr>
          <a:lstStyle/>
          <a:p>
            <a:endParaRPr lang="it-IT" sz="1800" dirty="0">
              <a:latin typeface="CMR10"/>
            </a:endParaRPr>
          </a:p>
          <a:p>
            <a:endParaRPr lang="it-IT" sz="1800" dirty="0">
              <a:latin typeface="CMR10"/>
            </a:endParaRPr>
          </a:p>
        </p:txBody>
      </p:sp>
      <p:sp>
        <p:nvSpPr>
          <p:cNvPr id="8" name="Segnaposto testo 7">
            <a:extLst>
              <a:ext uri="{FF2B5EF4-FFF2-40B4-BE49-F238E27FC236}">
                <a16:creationId xmlns:a16="http://schemas.microsoft.com/office/drawing/2014/main" id="{AECA5DBF-0B08-4ED4-8B86-55FCA257C0AF}"/>
              </a:ext>
            </a:extLst>
          </p:cNvPr>
          <p:cNvSpPr>
            <a:spLocks noGrp="1"/>
          </p:cNvSpPr>
          <p:nvPr>
            <p:ph type="body" sz="quarter" idx="13"/>
          </p:nvPr>
        </p:nvSpPr>
        <p:spPr/>
        <p:txBody>
          <a:bodyPr/>
          <a:lstStyle/>
          <a:p>
            <a:endParaRPr lang="it-IT"/>
          </a:p>
        </p:txBody>
      </p:sp>
      <p:sp>
        <p:nvSpPr>
          <p:cNvPr id="12" name="Rettangolo 11">
            <a:extLst>
              <a:ext uri="{FF2B5EF4-FFF2-40B4-BE49-F238E27FC236}">
                <a16:creationId xmlns:a16="http://schemas.microsoft.com/office/drawing/2014/main" id="{5493FEC3-1C3C-4896-8025-E76F4EDFFD6F}"/>
              </a:ext>
            </a:extLst>
          </p:cNvPr>
          <p:cNvSpPr/>
          <p:nvPr/>
        </p:nvSpPr>
        <p:spPr>
          <a:xfrm>
            <a:off x="330616" y="3262461"/>
            <a:ext cx="10949612" cy="646331"/>
          </a:xfrm>
          <a:prstGeom prst="rect">
            <a:avLst/>
          </a:prstGeom>
        </p:spPr>
        <p:txBody>
          <a:bodyPr wrap="square" lIns="91440" tIns="45720" rIns="91440" bIns="45720" anchor="t">
            <a:spAutoFit/>
          </a:bodyPr>
          <a:lstStyle/>
          <a:p>
            <a:r>
              <a:rPr lang="it-IT" sz="1800" dirty="0">
                <a:latin typeface="CMR10"/>
              </a:rPr>
              <a:t>Matcha quando stai chiamando un metodo su un oggetto e quell’oggetto è un’istanza di </a:t>
            </a:r>
            <a:r>
              <a:rPr lang="it-IT" sz="1800" dirty="0" err="1">
                <a:latin typeface="CMR10"/>
              </a:rPr>
              <a:t>PersonaController</a:t>
            </a:r>
            <a:r>
              <a:rPr lang="it-IT" sz="1800" dirty="0">
                <a:latin typeface="CMR10"/>
              </a:rPr>
              <a:t>, si differenzia dal this perché è dal punto di vista del chiamante</a:t>
            </a:r>
          </a:p>
        </p:txBody>
      </p:sp>
      <p:sp>
        <p:nvSpPr>
          <p:cNvPr id="7" name="CasellaDiTesto 6">
            <a:extLst>
              <a:ext uri="{FF2B5EF4-FFF2-40B4-BE49-F238E27FC236}">
                <a16:creationId xmlns:a16="http://schemas.microsoft.com/office/drawing/2014/main" id="{25D05E67-7A86-4885-BAD5-C843E50BB1F6}"/>
              </a:ext>
            </a:extLst>
          </p:cNvPr>
          <p:cNvSpPr txBox="1"/>
          <p:nvPr/>
        </p:nvSpPr>
        <p:spPr>
          <a:xfrm>
            <a:off x="4416676" y="1722847"/>
            <a:ext cx="331076" cy="369204"/>
          </a:xfrm>
          <a:prstGeom prst="rect">
            <a:avLst/>
          </a:prstGeom>
          <a:noFill/>
        </p:spPr>
        <p:txBody>
          <a:bodyPr wrap="square" rtlCol="0">
            <a:spAutoFit/>
          </a:bodyPr>
          <a:lstStyle/>
          <a:p>
            <a:r>
              <a:rPr lang="it-IT" dirty="0">
                <a:solidFill>
                  <a:schemeClr val="bg1">
                    <a:lumMod val="95000"/>
                  </a:schemeClr>
                </a:solidFill>
              </a:rPr>
              <a:t>1</a:t>
            </a:r>
          </a:p>
        </p:txBody>
      </p:sp>
      <p:sp>
        <p:nvSpPr>
          <p:cNvPr id="13" name="CasellaDiTesto 12">
            <a:extLst>
              <a:ext uri="{FF2B5EF4-FFF2-40B4-BE49-F238E27FC236}">
                <a16:creationId xmlns:a16="http://schemas.microsoft.com/office/drawing/2014/main" id="{41404BAD-FEE8-4270-9D23-10B3BEE7557F}"/>
              </a:ext>
            </a:extLst>
          </p:cNvPr>
          <p:cNvSpPr txBox="1"/>
          <p:nvPr/>
        </p:nvSpPr>
        <p:spPr>
          <a:xfrm>
            <a:off x="9156499" y="1726314"/>
            <a:ext cx="331076" cy="369204"/>
          </a:xfrm>
          <a:prstGeom prst="rect">
            <a:avLst/>
          </a:prstGeom>
          <a:noFill/>
        </p:spPr>
        <p:txBody>
          <a:bodyPr wrap="square" rtlCol="0">
            <a:spAutoFit/>
          </a:bodyPr>
          <a:lstStyle/>
          <a:p>
            <a:r>
              <a:rPr lang="it-IT" dirty="0">
                <a:solidFill>
                  <a:schemeClr val="bg1">
                    <a:lumMod val="95000"/>
                  </a:schemeClr>
                </a:solidFill>
              </a:rPr>
              <a:t>2</a:t>
            </a:r>
          </a:p>
        </p:txBody>
      </p:sp>
      <p:sp>
        <p:nvSpPr>
          <p:cNvPr id="14" name="CasellaDiTesto 13">
            <a:extLst>
              <a:ext uri="{FF2B5EF4-FFF2-40B4-BE49-F238E27FC236}">
                <a16:creationId xmlns:a16="http://schemas.microsoft.com/office/drawing/2014/main" id="{6207E54C-3FA2-4FFA-938C-2030EA2E04DA}"/>
              </a:ext>
            </a:extLst>
          </p:cNvPr>
          <p:cNvSpPr txBox="1"/>
          <p:nvPr/>
        </p:nvSpPr>
        <p:spPr>
          <a:xfrm>
            <a:off x="9549401" y="1722847"/>
            <a:ext cx="331076" cy="369204"/>
          </a:xfrm>
          <a:prstGeom prst="rect">
            <a:avLst/>
          </a:prstGeom>
          <a:noFill/>
        </p:spPr>
        <p:txBody>
          <a:bodyPr wrap="square" rtlCol="0">
            <a:spAutoFit/>
          </a:bodyPr>
          <a:lstStyle/>
          <a:p>
            <a:r>
              <a:rPr lang="it-IT" dirty="0">
                <a:solidFill>
                  <a:schemeClr val="bg1">
                    <a:lumMod val="95000"/>
                  </a:schemeClr>
                </a:solidFill>
              </a:rPr>
              <a:t>3</a:t>
            </a:r>
          </a:p>
        </p:txBody>
      </p:sp>
      <p:sp>
        <p:nvSpPr>
          <p:cNvPr id="15" name="CasellaDiTesto 14">
            <a:extLst>
              <a:ext uri="{FF2B5EF4-FFF2-40B4-BE49-F238E27FC236}">
                <a16:creationId xmlns:a16="http://schemas.microsoft.com/office/drawing/2014/main" id="{93486F84-F0C6-4DCD-97FA-B1F690183FC3}"/>
              </a:ext>
            </a:extLst>
          </p:cNvPr>
          <p:cNvSpPr txBox="1"/>
          <p:nvPr/>
        </p:nvSpPr>
        <p:spPr>
          <a:xfrm>
            <a:off x="9951095" y="1723071"/>
            <a:ext cx="331076" cy="369204"/>
          </a:xfrm>
          <a:prstGeom prst="rect">
            <a:avLst/>
          </a:prstGeom>
          <a:noFill/>
        </p:spPr>
        <p:txBody>
          <a:bodyPr wrap="square" rtlCol="0">
            <a:spAutoFit/>
          </a:bodyPr>
          <a:lstStyle/>
          <a:p>
            <a:r>
              <a:rPr lang="it-IT" dirty="0">
                <a:solidFill>
                  <a:schemeClr val="bg1">
                    <a:lumMod val="95000"/>
                  </a:schemeClr>
                </a:solidFill>
              </a:rPr>
              <a:t>4</a:t>
            </a:r>
          </a:p>
        </p:txBody>
      </p:sp>
      <p:pic>
        <p:nvPicPr>
          <p:cNvPr id="6" name="Immagine 5">
            <a:extLst>
              <a:ext uri="{FF2B5EF4-FFF2-40B4-BE49-F238E27FC236}">
                <a16:creationId xmlns:a16="http://schemas.microsoft.com/office/drawing/2014/main" id="{A6206D82-EAF5-4C46-83E0-1616C1F6074C}"/>
              </a:ext>
            </a:extLst>
          </p:cNvPr>
          <p:cNvPicPr>
            <a:picLocks noChangeAspect="1"/>
          </p:cNvPicPr>
          <p:nvPr/>
        </p:nvPicPr>
        <p:blipFill>
          <a:blip r:embed="rId7"/>
          <a:stretch>
            <a:fillRect/>
          </a:stretch>
        </p:blipFill>
        <p:spPr>
          <a:xfrm>
            <a:off x="330616" y="1621849"/>
            <a:ext cx="11305804" cy="1119246"/>
          </a:xfrm>
          <a:prstGeom prst="rect">
            <a:avLst/>
          </a:prstGeom>
        </p:spPr>
      </p:pic>
      <p:sp>
        <p:nvSpPr>
          <p:cNvPr id="17" name="CasellaDiTesto 16">
            <a:extLst>
              <a:ext uri="{FF2B5EF4-FFF2-40B4-BE49-F238E27FC236}">
                <a16:creationId xmlns:a16="http://schemas.microsoft.com/office/drawing/2014/main" id="{6F7AB4AE-0AA4-442D-9AC7-FFE9E1A5D6E0}"/>
              </a:ext>
            </a:extLst>
          </p:cNvPr>
          <p:cNvSpPr txBox="1"/>
          <p:nvPr/>
        </p:nvSpPr>
        <p:spPr>
          <a:xfrm>
            <a:off x="330616" y="1078648"/>
            <a:ext cx="11519451" cy="3616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sz="1750" b="1" noProof="1">
                <a:ea typeface="+mn-lt"/>
                <a:cs typeface="+mn-lt"/>
              </a:rPr>
              <a:t>target(type)</a:t>
            </a:r>
            <a:endParaRPr lang="en-US" sz="1750" i="1" noProof="1">
              <a:ea typeface="+mn-lt"/>
              <a:cs typeface="+mn-lt"/>
            </a:endParaRPr>
          </a:p>
        </p:txBody>
      </p:sp>
    </p:spTree>
    <p:extLst>
      <p:ext uri="{BB962C8B-B14F-4D97-AF65-F5344CB8AC3E}">
        <p14:creationId xmlns:p14="http://schemas.microsoft.com/office/powerpoint/2010/main" val="12710762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spid="_x0000_s311342"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5291" y="3902"/>
                        <a:ext cx="2116" cy="2116"/>
                      </a:xfrm>
                      <a:prstGeom prst="rect">
                        <a:avLst/>
                      </a:prstGeom>
                    </p:spPr>
                  </p:pic>
                </p:oleObj>
              </mc:Fallback>
            </mc:AlternateContent>
          </a:graphicData>
        </a:graphic>
      </p:graphicFrame>
      <p:sp>
        <p:nvSpPr>
          <p:cNvPr id="2" name="Rectángulo 1" hidden="1"/>
          <p:cNvSpPr/>
          <p:nvPr>
            <p:custDataLst>
              <p:tags r:id="rId3"/>
            </p:custDataLst>
          </p:nvPr>
        </p:nvSpPr>
        <p:spPr>
          <a:xfrm>
            <a:off x="3175" y="1786"/>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3198"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336001" y="649095"/>
            <a:ext cx="1871568" cy="403641"/>
          </a:xfrm>
        </p:spPr>
        <p:txBody>
          <a:bodyPr/>
          <a:lstStyle/>
          <a:p>
            <a:r>
              <a:rPr lang="it-IT" dirty="0"/>
              <a:t>Esempi	</a:t>
            </a:r>
            <a:endParaRPr lang="en-US" dirty="0"/>
          </a:p>
        </p:txBody>
      </p:sp>
      <p:sp>
        <p:nvSpPr>
          <p:cNvPr id="5" name="Marcador de contenido 2">
            <a:extLst>
              <a:ext uri="{FF2B5EF4-FFF2-40B4-BE49-F238E27FC236}">
                <a16:creationId xmlns:a16="http://schemas.microsoft.com/office/drawing/2014/main" id="{8FFCB682-A2FC-CA4B-AF1F-9B44DC3872A4}"/>
              </a:ext>
            </a:extLst>
          </p:cNvPr>
          <p:cNvSpPr txBox="1">
            <a:spLocks/>
          </p:cNvSpPr>
          <p:nvPr/>
        </p:nvSpPr>
        <p:spPr>
          <a:xfrm>
            <a:off x="339005" y="3747633"/>
            <a:ext cx="11513990" cy="1121527"/>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0" marR="0" lvl="0" indent="0" algn="l" defTabSz="514337"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s-ES" sz="1800" b="0" i="0" u="none" strike="noStrike" kern="1200" cap="none" spc="0" normalizeH="0" baseline="0" noProof="0">
              <a:ln>
                <a:noFill/>
              </a:ln>
              <a:solidFill>
                <a:srgbClr val="1A3B47"/>
              </a:solidFill>
              <a:effectLst/>
              <a:uLnTx/>
              <a:uFillTx/>
              <a:latin typeface="Soho Gothic Pro Light"/>
              <a:ea typeface="+mn-ea"/>
            </a:endParaRPr>
          </a:p>
        </p:txBody>
      </p:sp>
      <p:sp>
        <p:nvSpPr>
          <p:cNvPr id="10" name="Marcador de contenido 2">
            <a:extLst>
              <a:ext uri="{FF2B5EF4-FFF2-40B4-BE49-F238E27FC236}">
                <a16:creationId xmlns:a16="http://schemas.microsoft.com/office/drawing/2014/main" id="{8FFCB682-A2FC-CA4B-AF1F-9B44DC3872A4}"/>
              </a:ext>
            </a:extLst>
          </p:cNvPr>
          <p:cNvSpPr txBox="1">
            <a:spLocks/>
          </p:cNvSpPr>
          <p:nvPr/>
        </p:nvSpPr>
        <p:spPr>
          <a:xfrm>
            <a:off x="334811" y="1510007"/>
            <a:ext cx="8838145" cy="1342930"/>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0" marR="0" lvl="0" indent="0" algn="l" defTabSz="514337"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it-IT" sz="1800" b="0" i="0" u="none" strike="noStrike" kern="1200" cap="none" spc="0" normalizeH="0" baseline="0" noProof="0">
              <a:ln>
                <a:noFill/>
              </a:ln>
              <a:solidFill>
                <a:srgbClr val="1A3B47"/>
              </a:solidFill>
              <a:effectLst/>
              <a:uLnTx/>
              <a:uFillTx/>
              <a:latin typeface="Soho Gothic Pro Light"/>
              <a:ea typeface="+mn-ea"/>
            </a:endParaRPr>
          </a:p>
        </p:txBody>
      </p:sp>
      <p:sp>
        <p:nvSpPr>
          <p:cNvPr id="4" name="Rettangolo 3"/>
          <p:cNvSpPr/>
          <p:nvPr/>
        </p:nvSpPr>
        <p:spPr>
          <a:xfrm>
            <a:off x="339005" y="1510007"/>
            <a:ext cx="9865645" cy="646331"/>
          </a:xfrm>
          <a:prstGeom prst="rect">
            <a:avLst/>
          </a:prstGeom>
        </p:spPr>
        <p:txBody>
          <a:bodyPr wrap="square" lIns="91440" tIns="45720" rIns="91440" bIns="45720" anchor="t">
            <a:spAutoFit/>
          </a:bodyPr>
          <a:lstStyle/>
          <a:p>
            <a:endParaRPr lang="it-IT" sz="1800" dirty="0">
              <a:latin typeface="CMR10"/>
            </a:endParaRPr>
          </a:p>
          <a:p>
            <a:endParaRPr lang="it-IT" sz="1800" dirty="0">
              <a:latin typeface="CMR10"/>
            </a:endParaRPr>
          </a:p>
        </p:txBody>
      </p:sp>
      <p:sp>
        <p:nvSpPr>
          <p:cNvPr id="8" name="Segnaposto testo 7">
            <a:extLst>
              <a:ext uri="{FF2B5EF4-FFF2-40B4-BE49-F238E27FC236}">
                <a16:creationId xmlns:a16="http://schemas.microsoft.com/office/drawing/2014/main" id="{AECA5DBF-0B08-4ED4-8B86-55FCA257C0AF}"/>
              </a:ext>
            </a:extLst>
          </p:cNvPr>
          <p:cNvSpPr>
            <a:spLocks noGrp="1"/>
          </p:cNvSpPr>
          <p:nvPr>
            <p:ph type="body" sz="quarter" idx="13"/>
          </p:nvPr>
        </p:nvSpPr>
        <p:spPr/>
        <p:txBody>
          <a:bodyPr/>
          <a:lstStyle/>
          <a:p>
            <a:endParaRPr lang="it-IT"/>
          </a:p>
        </p:txBody>
      </p:sp>
      <p:sp>
        <p:nvSpPr>
          <p:cNvPr id="12" name="Rettangolo 11">
            <a:extLst>
              <a:ext uri="{FF2B5EF4-FFF2-40B4-BE49-F238E27FC236}">
                <a16:creationId xmlns:a16="http://schemas.microsoft.com/office/drawing/2014/main" id="{5493FEC3-1C3C-4896-8025-E76F4EDFFD6F}"/>
              </a:ext>
            </a:extLst>
          </p:cNvPr>
          <p:cNvSpPr/>
          <p:nvPr/>
        </p:nvSpPr>
        <p:spPr>
          <a:xfrm>
            <a:off x="339005" y="3744646"/>
            <a:ext cx="10949612" cy="369332"/>
          </a:xfrm>
          <a:prstGeom prst="rect">
            <a:avLst/>
          </a:prstGeom>
        </p:spPr>
        <p:txBody>
          <a:bodyPr wrap="square" lIns="91440" tIns="45720" rIns="91440" bIns="45720" anchor="t">
            <a:spAutoFit/>
          </a:bodyPr>
          <a:lstStyle/>
          <a:p>
            <a:r>
              <a:rPr lang="it-IT" sz="1800" dirty="0">
                <a:latin typeface="CMR10"/>
              </a:rPr>
              <a:t>Matcha quando stai chiamando un metodo nel package </a:t>
            </a:r>
            <a:r>
              <a:rPr lang="it-IT" sz="1800" dirty="0" err="1">
                <a:latin typeface="CMR10"/>
              </a:rPr>
              <a:t>org.innovation</a:t>
            </a:r>
            <a:r>
              <a:rPr lang="it-IT" sz="1800" dirty="0">
                <a:latin typeface="CMR10"/>
              </a:rPr>
              <a:t> e ha un parametro del tipo dell’</a:t>
            </a:r>
            <a:r>
              <a:rPr lang="it-IT" sz="1800" dirty="0" err="1">
                <a:latin typeface="CMR10"/>
              </a:rPr>
              <a:t>arg</a:t>
            </a:r>
            <a:r>
              <a:rPr lang="it-IT" sz="1800" dirty="0">
                <a:latin typeface="CMR10"/>
              </a:rPr>
              <a:t>. mela</a:t>
            </a:r>
          </a:p>
        </p:txBody>
      </p:sp>
      <p:sp>
        <p:nvSpPr>
          <p:cNvPr id="7" name="CasellaDiTesto 6">
            <a:extLst>
              <a:ext uri="{FF2B5EF4-FFF2-40B4-BE49-F238E27FC236}">
                <a16:creationId xmlns:a16="http://schemas.microsoft.com/office/drawing/2014/main" id="{25D05E67-7A86-4885-BAD5-C843E50BB1F6}"/>
              </a:ext>
            </a:extLst>
          </p:cNvPr>
          <p:cNvSpPr txBox="1"/>
          <p:nvPr/>
        </p:nvSpPr>
        <p:spPr>
          <a:xfrm>
            <a:off x="4416676" y="1722847"/>
            <a:ext cx="331076" cy="369204"/>
          </a:xfrm>
          <a:prstGeom prst="rect">
            <a:avLst/>
          </a:prstGeom>
          <a:noFill/>
        </p:spPr>
        <p:txBody>
          <a:bodyPr wrap="square" rtlCol="0">
            <a:spAutoFit/>
          </a:bodyPr>
          <a:lstStyle/>
          <a:p>
            <a:r>
              <a:rPr lang="it-IT" dirty="0">
                <a:solidFill>
                  <a:schemeClr val="bg1">
                    <a:lumMod val="95000"/>
                  </a:schemeClr>
                </a:solidFill>
              </a:rPr>
              <a:t>1</a:t>
            </a:r>
          </a:p>
        </p:txBody>
      </p:sp>
      <p:sp>
        <p:nvSpPr>
          <p:cNvPr id="13" name="CasellaDiTesto 12">
            <a:extLst>
              <a:ext uri="{FF2B5EF4-FFF2-40B4-BE49-F238E27FC236}">
                <a16:creationId xmlns:a16="http://schemas.microsoft.com/office/drawing/2014/main" id="{41404BAD-FEE8-4270-9D23-10B3BEE7557F}"/>
              </a:ext>
            </a:extLst>
          </p:cNvPr>
          <p:cNvSpPr txBox="1"/>
          <p:nvPr/>
        </p:nvSpPr>
        <p:spPr>
          <a:xfrm>
            <a:off x="9156499" y="1726314"/>
            <a:ext cx="331076" cy="369204"/>
          </a:xfrm>
          <a:prstGeom prst="rect">
            <a:avLst/>
          </a:prstGeom>
          <a:noFill/>
        </p:spPr>
        <p:txBody>
          <a:bodyPr wrap="square" rtlCol="0">
            <a:spAutoFit/>
          </a:bodyPr>
          <a:lstStyle/>
          <a:p>
            <a:r>
              <a:rPr lang="it-IT" dirty="0">
                <a:solidFill>
                  <a:schemeClr val="bg1">
                    <a:lumMod val="95000"/>
                  </a:schemeClr>
                </a:solidFill>
              </a:rPr>
              <a:t>2</a:t>
            </a:r>
          </a:p>
        </p:txBody>
      </p:sp>
      <p:sp>
        <p:nvSpPr>
          <p:cNvPr id="14" name="CasellaDiTesto 13">
            <a:extLst>
              <a:ext uri="{FF2B5EF4-FFF2-40B4-BE49-F238E27FC236}">
                <a16:creationId xmlns:a16="http://schemas.microsoft.com/office/drawing/2014/main" id="{6207E54C-3FA2-4FFA-938C-2030EA2E04DA}"/>
              </a:ext>
            </a:extLst>
          </p:cNvPr>
          <p:cNvSpPr txBox="1"/>
          <p:nvPr/>
        </p:nvSpPr>
        <p:spPr>
          <a:xfrm>
            <a:off x="9549401" y="1722847"/>
            <a:ext cx="331076" cy="369204"/>
          </a:xfrm>
          <a:prstGeom prst="rect">
            <a:avLst/>
          </a:prstGeom>
          <a:noFill/>
        </p:spPr>
        <p:txBody>
          <a:bodyPr wrap="square" rtlCol="0">
            <a:spAutoFit/>
          </a:bodyPr>
          <a:lstStyle/>
          <a:p>
            <a:r>
              <a:rPr lang="it-IT" dirty="0">
                <a:solidFill>
                  <a:schemeClr val="bg1">
                    <a:lumMod val="95000"/>
                  </a:schemeClr>
                </a:solidFill>
              </a:rPr>
              <a:t>3</a:t>
            </a:r>
          </a:p>
        </p:txBody>
      </p:sp>
      <p:sp>
        <p:nvSpPr>
          <p:cNvPr id="15" name="CasellaDiTesto 14">
            <a:extLst>
              <a:ext uri="{FF2B5EF4-FFF2-40B4-BE49-F238E27FC236}">
                <a16:creationId xmlns:a16="http://schemas.microsoft.com/office/drawing/2014/main" id="{93486F84-F0C6-4DCD-97FA-B1F690183FC3}"/>
              </a:ext>
            </a:extLst>
          </p:cNvPr>
          <p:cNvSpPr txBox="1"/>
          <p:nvPr/>
        </p:nvSpPr>
        <p:spPr>
          <a:xfrm>
            <a:off x="9951095" y="1723071"/>
            <a:ext cx="331076" cy="369204"/>
          </a:xfrm>
          <a:prstGeom prst="rect">
            <a:avLst/>
          </a:prstGeom>
          <a:noFill/>
        </p:spPr>
        <p:txBody>
          <a:bodyPr wrap="square" rtlCol="0">
            <a:spAutoFit/>
          </a:bodyPr>
          <a:lstStyle/>
          <a:p>
            <a:r>
              <a:rPr lang="it-IT" dirty="0">
                <a:solidFill>
                  <a:schemeClr val="bg1">
                    <a:lumMod val="95000"/>
                  </a:schemeClr>
                </a:solidFill>
              </a:rPr>
              <a:t>4</a:t>
            </a:r>
          </a:p>
        </p:txBody>
      </p:sp>
      <p:sp>
        <p:nvSpPr>
          <p:cNvPr id="19" name="Rettangolo 18">
            <a:extLst>
              <a:ext uri="{FF2B5EF4-FFF2-40B4-BE49-F238E27FC236}">
                <a16:creationId xmlns:a16="http://schemas.microsoft.com/office/drawing/2014/main" id="{84540415-9F5F-4913-BC4D-EB69C81E0095}"/>
              </a:ext>
            </a:extLst>
          </p:cNvPr>
          <p:cNvSpPr/>
          <p:nvPr/>
        </p:nvSpPr>
        <p:spPr>
          <a:xfrm>
            <a:off x="330616" y="5752497"/>
            <a:ext cx="1647956" cy="369332"/>
          </a:xfrm>
          <a:prstGeom prst="rect">
            <a:avLst/>
          </a:prstGeom>
        </p:spPr>
        <p:txBody>
          <a:bodyPr wrap="square" lIns="91440" tIns="45720" rIns="91440" bIns="45720" anchor="t">
            <a:spAutoFit/>
          </a:bodyPr>
          <a:lstStyle/>
          <a:p>
            <a:pPr marL="285750" indent="-285750">
              <a:buFont typeface="Arial" panose="020B0604020202020204" pitchFamily="34" charset="0"/>
              <a:buChar char="•"/>
            </a:pPr>
            <a:r>
              <a:rPr lang="it-IT" sz="1800" b="1" dirty="0">
                <a:latin typeface="CMR10"/>
              </a:rPr>
              <a:t>OUTPUT ?</a:t>
            </a:r>
            <a:endParaRPr lang="it-IT" sz="1800" dirty="0">
              <a:latin typeface="CMR10"/>
            </a:endParaRPr>
          </a:p>
        </p:txBody>
      </p:sp>
      <p:pic>
        <p:nvPicPr>
          <p:cNvPr id="20" name="Immagine 19">
            <a:extLst>
              <a:ext uri="{FF2B5EF4-FFF2-40B4-BE49-F238E27FC236}">
                <a16:creationId xmlns:a16="http://schemas.microsoft.com/office/drawing/2014/main" id="{B86841E2-1683-424C-9B6A-8B9309BDD423}"/>
              </a:ext>
            </a:extLst>
          </p:cNvPr>
          <p:cNvPicPr>
            <a:picLocks noChangeAspect="1"/>
          </p:cNvPicPr>
          <p:nvPr/>
        </p:nvPicPr>
        <p:blipFill>
          <a:blip r:embed="rId7"/>
          <a:stretch>
            <a:fillRect/>
          </a:stretch>
        </p:blipFill>
        <p:spPr>
          <a:xfrm>
            <a:off x="330617" y="1719751"/>
            <a:ext cx="11305804" cy="1711735"/>
          </a:xfrm>
          <a:prstGeom prst="rect">
            <a:avLst/>
          </a:prstGeom>
        </p:spPr>
      </p:pic>
      <p:sp>
        <p:nvSpPr>
          <p:cNvPr id="21" name="CasellaDiTesto 20">
            <a:extLst>
              <a:ext uri="{FF2B5EF4-FFF2-40B4-BE49-F238E27FC236}">
                <a16:creationId xmlns:a16="http://schemas.microsoft.com/office/drawing/2014/main" id="{DEE81FF0-9C1D-4FEC-B72B-6783639E17E3}"/>
              </a:ext>
            </a:extLst>
          </p:cNvPr>
          <p:cNvSpPr txBox="1"/>
          <p:nvPr/>
        </p:nvSpPr>
        <p:spPr>
          <a:xfrm>
            <a:off x="330616" y="1078648"/>
            <a:ext cx="11519451" cy="3616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sz="1750" b="1" noProof="1">
                <a:ea typeface="+mn-lt"/>
                <a:cs typeface="+mn-lt"/>
              </a:rPr>
              <a:t>args(types)</a:t>
            </a:r>
            <a:endParaRPr lang="en-US" sz="1750" i="1" noProof="1">
              <a:ea typeface="+mn-lt"/>
              <a:cs typeface="+mn-lt"/>
            </a:endParaRPr>
          </a:p>
        </p:txBody>
      </p:sp>
      <p:sp>
        <p:nvSpPr>
          <p:cNvPr id="22" name="Rettangolo 21">
            <a:extLst>
              <a:ext uri="{FF2B5EF4-FFF2-40B4-BE49-F238E27FC236}">
                <a16:creationId xmlns:a16="http://schemas.microsoft.com/office/drawing/2014/main" id="{38879ECE-6CFE-4114-89C1-A40372297852}"/>
              </a:ext>
            </a:extLst>
          </p:cNvPr>
          <p:cNvSpPr/>
          <p:nvPr/>
        </p:nvSpPr>
        <p:spPr>
          <a:xfrm>
            <a:off x="330616" y="4498701"/>
            <a:ext cx="10949612" cy="369332"/>
          </a:xfrm>
          <a:prstGeom prst="rect">
            <a:avLst/>
          </a:prstGeom>
        </p:spPr>
        <p:txBody>
          <a:bodyPr wrap="square" lIns="91440" tIns="45720" rIns="91440" bIns="45720" anchor="t">
            <a:spAutoFit/>
          </a:bodyPr>
          <a:lstStyle/>
          <a:p>
            <a:r>
              <a:rPr lang="it-IT" sz="1800" dirty="0">
                <a:latin typeface="CMR10"/>
              </a:rPr>
              <a:t>Metodo alternativo</a:t>
            </a:r>
          </a:p>
        </p:txBody>
      </p:sp>
      <p:sp>
        <p:nvSpPr>
          <p:cNvPr id="23" name="Rettangolo 22">
            <a:extLst>
              <a:ext uri="{FF2B5EF4-FFF2-40B4-BE49-F238E27FC236}">
                <a16:creationId xmlns:a16="http://schemas.microsoft.com/office/drawing/2014/main" id="{DE331C86-51AF-4513-80D3-F65CC3EF0446}"/>
              </a:ext>
            </a:extLst>
          </p:cNvPr>
          <p:cNvSpPr/>
          <p:nvPr/>
        </p:nvSpPr>
        <p:spPr>
          <a:xfrm>
            <a:off x="2207569" y="5758104"/>
            <a:ext cx="3164654" cy="369332"/>
          </a:xfrm>
          <a:prstGeom prst="rect">
            <a:avLst/>
          </a:prstGeom>
        </p:spPr>
        <p:txBody>
          <a:bodyPr wrap="square" lIns="91440" tIns="45720" rIns="91440" bIns="45720" anchor="t">
            <a:spAutoFit/>
          </a:bodyPr>
          <a:lstStyle/>
          <a:p>
            <a:r>
              <a:rPr lang="it-IT" sz="1800" dirty="0">
                <a:latin typeface="CMR10"/>
              </a:rPr>
              <a:t>Repository, Service, Controller</a:t>
            </a:r>
          </a:p>
        </p:txBody>
      </p:sp>
      <p:pic>
        <p:nvPicPr>
          <p:cNvPr id="24" name="Immagine 23">
            <a:extLst>
              <a:ext uri="{FF2B5EF4-FFF2-40B4-BE49-F238E27FC236}">
                <a16:creationId xmlns:a16="http://schemas.microsoft.com/office/drawing/2014/main" id="{732BEA99-89FC-418C-BBC0-5F352DFB2CCD}"/>
              </a:ext>
            </a:extLst>
          </p:cNvPr>
          <p:cNvPicPr>
            <a:picLocks noChangeAspect="1"/>
          </p:cNvPicPr>
          <p:nvPr/>
        </p:nvPicPr>
        <p:blipFill>
          <a:blip r:embed="rId8"/>
          <a:stretch>
            <a:fillRect/>
          </a:stretch>
        </p:blipFill>
        <p:spPr>
          <a:xfrm>
            <a:off x="346872" y="5011318"/>
            <a:ext cx="8826084" cy="490338"/>
          </a:xfrm>
          <a:prstGeom prst="rect">
            <a:avLst/>
          </a:prstGeom>
        </p:spPr>
      </p:pic>
    </p:spTree>
    <p:extLst>
      <p:ext uri="{BB962C8B-B14F-4D97-AF65-F5344CB8AC3E}">
        <p14:creationId xmlns:p14="http://schemas.microsoft.com/office/powerpoint/2010/main" val="25343223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barn(inVertical)">
                                      <p:cBhvr>
                                        <p:cTn id="7" dur="500"/>
                                        <p:tgtEl>
                                          <p:spTgt spid="22"/>
                                        </p:tgtEl>
                                      </p:cBhvr>
                                    </p:animEffect>
                                  </p:childTnLst>
                                </p:cTn>
                              </p:par>
                              <p:par>
                                <p:cTn id="8" presetID="16" presetClass="entr" presetSubtype="21"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barn(inVertical)">
                                      <p:cBhvr>
                                        <p:cTn id="10" dur="500"/>
                                        <p:tgtEl>
                                          <p:spTgt spid="24"/>
                                        </p:tgtEl>
                                      </p:cBhvr>
                                    </p:animEffect>
                                  </p:childTnLst>
                                </p:cTn>
                              </p:par>
                              <p:par>
                                <p:cTn id="11" presetID="16" presetClass="entr" presetSubtype="21"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barn(inVertical)">
                                      <p:cBhvr>
                                        <p:cTn id="13" dur="500"/>
                                        <p:tgtEl>
                                          <p:spTgt spid="19"/>
                                        </p:tgtEl>
                                      </p:cBhvr>
                                    </p:animEffect>
                                  </p:childTnLst>
                                </p:cTn>
                              </p:par>
                            </p:childTnLst>
                          </p:cTn>
                        </p:par>
                      </p:childTnLst>
                    </p:cTn>
                  </p:par>
                  <p:par>
                    <p:cTn id="14" fill="hold">
                      <p:stCondLst>
                        <p:cond delay="indefinite"/>
                      </p:stCondLst>
                      <p:childTnLst>
                        <p:par>
                          <p:cTn id="15" fill="hold">
                            <p:stCondLst>
                              <p:cond delay="0"/>
                            </p:stCondLst>
                            <p:childTnLst>
                              <p:par>
                                <p:cTn id="16" presetID="16" presetClass="entr" presetSubtype="21" fill="hold" grpId="0" nodeType="click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barn(inVertical)">
                                      <p:cBhvr>
                                        <p:cTn id="18"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2" grpId="0"/>
      <p:bldP spid="2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spid="_x0000_s312363"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5291" y="3902"/>
                        <a:ext cx="2116" cy="2116"/>
                      </a:xfrm>
                      <a:prstGeom prst="rect">
                        <a:avLst/>
                      </a:prstGeom>
                    </p:spPr>
                  </p:pic>
                </p:oleObj>
              </mc:Fallback>
            </mc:AlternateContent>
          </a:graphicData>
        </a:graphic>
      </p:graphicFrame>
      <p:sp>
        <p:nvSpPr>
          <p:cNvPr id="2" name="Rectángulo 1" hidden="1"/>
          <p:cNvSpPr/>
          <p:nvPr>
            <p:custDataLst>
              <p:tags r:id="rId3"/>
            </p:custDataLst>
          </p:nvPr>
        </p:nvSpPr>
        <p:spPr>
          <a:xfrm>
            <a:off x="3175" y="1786"/>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3198"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336001" y="649095"/>
            <a:ext cx="1871568" cy="403641"/>
          </a:xfrm>
        </p:spPr>
        <p:txBody>
          <a:bodyPr/>
          <a:lstStyle/>
          <a:p>
            <a:r>
              <a:rPr lang="it-IT" dirty="0"/>
              <a:t>Esempi	</a:t>
            </a:r>
            <a:endParaRPr lang="en-US" dirty="0"/>
          </a:p>
        </p:txBody>
      </p:sp>
      <p:sp>
        <p:nvSpPr>
          <p:cNvPr id="8" name="Segnaposto testo 7">
            <a:extLst>
              <a:ext uri="{FF2B5EF4-FFF2-40B4-BE49-F238E27FC236}">
                <a16:creationId xmlns:a16="http://schemas.microsoft.com/office/drawing/2014/main" id="{AECA5DBF-0B08-4ED4-8B86-55FCA257C0AF}"/>
              </a:ext>
            </a:extLst>
          </p:cNvPr>
          <p:cNvSpPr>
            <a:spLocks noGrp="1"/>
          </p:cNvSpPr>
          <p:nvPr>
            <p:ph type="body" sz="quarter" idx="13"/>
          </p:nvPr>
        </p:nvSpPr>
        <p:spPr/>
        <p:txBody>
          <a:bodyPr/>
          <a:lstStyle/>
          <a:p>
            <a:endParaRPr lang="it-IT"/>
          </a:p>
        </p:txBody>
      </p:sp>
      <p:sp>
        <p:nvSpPr>
          <p:cNvPr id="21" name="CasellaDiTesto 20">
            <a:extLst>
              <a:ext uri="{FF2B5EF4-FFF2-40B4-BE49-F238E27FC236}">
                <a16:creationId xmlns:a16="http://schemas.microsoft.com/office/drawing/2014/main" id="{DEE81FF0-9C1D-4FEC-B72B-6783639E17E3}"/>
              </a:ext>
            </a:extLst>
          </p:cNvPr>
          <p:cNvSpPr txBox="1"/>
          <p:nvPr/>
        </p:nvSpPr>
        <p:spPr>
          <a:xfrm>
            <a:off x="330616" y="1078648"/>
            <a:ext cx="11519451" cy="3616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sz="1750" b="1" noProof="1">
                <a:ea typeface="+mn-lt"/>
                <a:cs typeface="+mn-lt"/>
              </a:rPr>
              <a:t>@within(type)</a:t>
            </a:r>
            <a:endParaRPr lang="en-US" sz="1750" i="1" noProof="1">
              <a:ea typeface="+mn-lt"/>
              <a:cs typeface="+mn-lt"/>
            </a:endParaRPr>
          </a:p>
        </p:txBody>
      </p:sp>
      <p:sp>
        <p:nvSpPr>
          <p:cNvPr id="16" name="Rettangolo 15">
            <a:extLst>
              <a:ext uri="{FF2B5EF4-FFF2-40B4-BE49-F238E27FC236}">
                <a16:creationId xmlns:a16="http://schemas.microsoft.com/office/drawing/2014/main" id="{82E7C37E-679A-4B41-AE23-424B01347559}"/>
              </a:ext>
            </a:extLst>
          </p:cNvPr>
          <p:cNvSpPr/>
          <p:nvPr/>
        </p:nvSpPr>
        <p:spPr>
          <a:xfrm>
            <a:off x="339005" y="3744646"/>
            <a:ext cx="10949612" cy="369332"/>
          </a:xfrm>
          <a:prstGeom prst="rect">
            <a:avLst/>
          </a:prstGeom>
        </p:spPr>
        <p:txBody>
          <a:bodyPr wrap="square" lIns="91440" tIns="45720" rIns="91440" bIns="45720" anchor="t">
            <a:spAutoFit/>
          </a:bodyPr>
          <a:lstStyle/>
          <a:p>
            <a:r>
              <a:rPr lang="it-IT" sz="1800" dirty="0">
                <a:latin typeface="CMR10"/>
              </a:rPr>
              <a:t>Matcha quando viene chiamato un metodo di un oggetto annotato con @Repository</a:t>
            </a:r>
          </a:p>
        </p:txBody>
      </p:sp>
      <p:sp>
        <p:nvSpPr>
          <p:cNvPr id="18" name="Rettangolo 17">
            <a:extLst>
              <a:ext uri="{FF2B5EF4-FFF2-40B4-BE49-F238E27FC236}">
                <a16:creationId xmlns:a16="http://schemas.microsoft.com/office/drawing/2014/main" id="{1C5A4125-5B0F-43C0-A2D2-6A5EDBF3104F}"/>
              </a:ext>
            </a:extLst>
          </p:cNvPr>
          <p:cNvSpPr/>
          <p:nvPr/>
        </p:nvSpPr>
        <p:spPr>
          <a:xfrm>
            <a:off x="334811" y="5040232"/>
            <a:ext cx="1314784" cy="369332"/>
          </a:xfrm>
          <a:prstGeom prst="rect">
            <a:avLst/>
          </a:prstGeom>
        </p:spPr>
        <p:txBody>
          <a:bodyPr wrap="none">
            <a:spAutoFit/>
          </a:bodyPr>
          <a:lstStyle/>
          <a:p>
            <a:pPr marL="285750" indent="-285750">
              <a:buFont typeface="Arial" panose="020B0604020202020204" pitchFamily="34" charset="0"/>
              <a:buChar char="•"/>
            </a:pPr>
            <a:r>
              <a:rPr lang="en-US" sz="1800" b="1" noProof="1">
                <a:ea typeface="+mn-lt"/>
                <a:cs typeface="+mn-lt"/>
              </a:rPr>
              <a:t>findAll ? </a:t>
            </a:r>
            <a:endParaRPr lang="en-US" sz="1800" noProof="1">
              <a:ea typeface="+mn-lt"/>
              <a:cs typeface="+mn-lt"/>
            </a:endParaRPr>
          </a:p>
        </p:txBody>
      </p:sp>
      <p:sp>
        <p:nvSpPr>
          <p:cNvPr id="19" name="Rettangolo 18">
            <a:extLst>
              <a:ext uri="{FF2B5EF4-FFF2-40B4-BE49-F238E27FC236}">
                <a16:creationId xmlns:a16="http://schemas.microsoft.com/office/drawing/2014/main" id="{12BD5B78-AB98-4F13-9755-CC92AC164A83}"/>
              </a:ext>
            </a:extLst>
          </p:cNvPr>
          <p:cNvSpPr/>
          <p:nvPr/>
        </p:nvSpPr>
        <p:spPr>
          <a:xfrm>
            <a:off x="1933177" y="5040232"/>
            <a:ext cx="9150518" cy="369332"/>
          </a:xfrm>
          <a:prstGeom prst="rect">
            <a:avLst/>
          </a:prstGeom>
        </p:spPr>
        <p:txBody>
          <a:bodyPr wrap="none">
            <a:spAutoFit/>
          </a:bodyPr>
          <a:lstStyle/>
          <a:p>
            <a:r>
              <a:rPr lang="en-US" sz="1800" noProof="1">
                <a:ea typeface="+mn-lt"/>
                <a:cs typeface="+mn-lt"/>
              </a:rPr>
              <a:t>Non verrà analizzata in quanto è un metodo di default di un bean non presente nel IoC container</a:t>
            </a:r>
          </a:p>
        </p:txBody>
      </p:sp>
      <p:pic>
        <p:nvPicPr>
          <p:cNvPr id="5" name="Immagine 4">
            <a:extLst>
              <a:ext uri="{FF2B5EF4-FFF2-40B4-BE49-F238E27FC236}">
                <a16:creationId xmlns:a16="http://schemas.microsoft.com/office/drawing/2014/main" id="{A74F228B-7A23-49AC-8893-876754314B5D}"/>
              </a:ext>
            </a:extLst>
          </p:cNvPr>
          <p:cNvPicPr>
            <a:picLocks noChangeAspect="1"/>
          </p:cNvPicPr>
          <p:nvPr/>
        </p:nvPicPr>
        <p:blipFill>
          <a:blip r:embed="rId7"/>
          <a:stretch>
            <a:fillRect/>
          </a:stretch>
        </p:blipFill>
        <p:spPr>
          <a:xfrm>
            <a:off x="339005" y="1643427"/>
            <a:ext cx="7901080" cy="1713670"/>
          </a:xfrm>
          <a:prstGeom prst="rect">
            <a:avLst/>
          </a:prstGeom>
        </p:spPr>
      </p:pic>
    </p:spTree>
    <p:extLst>
      <p:ext uri="{BB962C8B-B14F-4D97-AF65-F5344CB8AC3E}">
        <p14:creationId xmlns:p14="http://schemas.microsoft.com/office/powerpoint/2010/main" val="2175763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barn(inVertical)">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barn(inVertical)">
                                      <p:cBhvr>
                                        <p:cTn id="1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spid="_x0000_s314383"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5291" y="3902"/>
                        <a:ext cx="2116" cy="2116"/>
                      </a:xfrm>
                      <a:prstGeom prst="rect">
                        <a:avLst/>
                      </a:prstGeom>
                    </p:spPr>
                  </p:pic>
                </p:oleObj>
              </mc:Fallback>
            </mc:AlternateContent>
          </a:graphicData>
        </a:graphic>
      </p:graphicFrame>
      <p:sp>
        <p:nvSpPr>
          <p:cNvPr id="2" name="Rectángulo 1" hidden="1"/>
          <p:cNvSpPr/>
          <p:nvPr>
            <p:custDataLst>
              <p:tags r:id="rId3"/>
            </p:custDataLst>
          </p:nvPr>
        </p:nvSpPr>
        <p:spPr>
          <a:xfrm>
            <a:off x="3175" y="1786"/>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3198"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336001" y="649095"/>
            <a:ext cx="1871568" cy="403641"/>
          </a:xfrm>
        </p:spPr>
        <p:txBody>
          <a:bodyPr/>
          <a:lstStyle/>
          <a:p>
            <a:r>
              <a:rPr lang="it-IT" dirty="0"/>
              <a:t>Esempi	</a:t>
            </a:r>
            <a:endParaRPr lang="en-US" dirty="0"/>
          </a:p>
        </p:txBody>
      </p:sp>
      <p:sp>
        <p:nvSpPr>
          <p:cNvPr id="8" name="Segnaposto testo 7">
            <a:extLst>
              <a:ext uri="{FF2B5EF4-FFF2-40B4-BE49-F238E27FC236}">
                <a16:creationId xmlns:a16="http://schemas.microsoft.com/office/drawing/2014/main" id="{AECA5DBF-0B08-4ED4-8B86-55FCA257C0AF}"/>
              </a:ext>
            </a:extLst>
          </p:cNvPr>
          <p:cNvSpPr>
            <a:spLocks noGrp="1"/>
          </p:cNvSpPr>
          <p:nvPr>
            <p:ph type="body" sz="quarter" idx="13"/>
          </p:nvPr>
        </p:nvSpPr>
        <p:spPr/>
        <p:txBody>
          <a:bodyPr/>
          <a:lstStyle/>
          <a:p>
            <a:endParaRPr lang="it-IT"/>
          </a:p>
        </p:txBody>
      </p:sp>
      <p:sp>
        <p:nvSpPr>
          <p:cNvPr id="12" name="Rettangolo 11">
            <a:extLst>
              <a:ext uri="{FF2B5EF4-FFF2-40B4-BE49-F238E27FC236}">
                <a16:creationId xmlns:a16="http://schemas.microsoft.com/office/drawing/2014/main" id="{5493FEC3-1C3C-4896-8025-E76F4EDFFD6F}"/>
              </a:ext>
            </a:extLst>
          </p:cNvPr>
          <p:cNvSpPr/>
          <p:nvPr/>
        </p:nvSpPr>
        <p:spPr>
          <a:xfrm>
            <a:off x="339005" y="4595336"/>
            <a:ext cx="10949612" cy="369332"/>
          </a:xfrm>
          <a:prstGeom prst="rect">
            <a:avLst/>
          </a:prstGeom>
        </p:spPr>
        <p:txBody>
          <a:bodyPr wrap="square" lIns="91440" tIns="45720" rIns="91440" bIns="45720" anchor="t">
            <a:spAutoFit/>
          </a:bodyPr>
          <a:lstStyle/>
          <a:p>
            <a:r>
              <a:rPr lang="it-IT" sz="1800" dirty="0">
                <a:latin typeface="CMR10"/>
              </a:rPr>
              <a:t>Matcha quando stai chiamando un metodo annotato con @</a:t>
            </a:r>
            <a:r>
              <a:rPr lang="it-IT" sz="1800" dirty="0" err="1">
                <a:latin typeface="CMR10"/>
              </a:rPr>
              <a:t>RestLog</a:t>
            </a:r>
            <a:endParaRPr lang="it-IT" sz="1800" dirty="0">
              <a:latin typeface="CMR10"/>
            </a:endParaRPr>
          </a:p>
        </p:txBody>
      </p:sp>
      <p:sp>
        <p:nvSpPr>
          <p:cNvPr id="21" name="CasellaDiTesto 20">
            <a:extLst>
              <a:ext uri="{FF2B5EF4-FFF2-40B4-BE49-F238E27FC236}">
                <a16:creationId xmlns:a16="http://schemas.microsoft.com/office/drawing/2014/main" id="{DEE81FF0-9C1D-4FEC-B72B-6783639E17E3}"/>
              </a:ext>
            </a:extLst>
          </p:cNvPr>
          <p:cNvSpPr txBox="1"/>
          <p:nvPr/>
        </p:nvSpPr>
        <p:spPr>
          <a:xfrm>
            <a:off x="330616" y="1078648"/>
            <a:ext cx="11519451" cy="3616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sz="1750" b="1" noProof="1">
                <a:ea typeface="+mn-lt"/>
                <a:cs typeface="+mn-lt"/>
              </a:rPr>
              <a:t>@annotation(type)</a:t>
            </a:r>
            <a:endParaRPr lang="en-US" sz="1750" i="1" noProof="1">
              <a:ea typeface="+mn-lt"/>
              <a:cs typeface="+mn-lt"/>
            </a:endParaRPr>
          </a:p>
        </p:txBody>
      </p:sp>
      <p:pic>
        <p:nvPicPr>
          <p:cNvPr id="6" name="Immagine 5">
            <a:extLst>
              <a:ext uri="{FF2B5EF4-FFF2-40B4-BE49-F238E27FC236}">
                <a16:creationId xmlns:a16="http://schemas.microsoft.com/office/drawing/2014/main" id="{2B201C52-EFD9-4BCF-B259-E470B2F48C60}"/>
              </a:ext>
            </a:extLst>
          </p:cNvPr>
          <p:cNvPicPr>
            <a:picLocks noChangeAspect="1"/>
          </p:cNvPicPr>
          <p:nvPr/>
        </p:nvPicPr>
        <p:blipFill>
          <a:blip r:embed="rId7"/>
          <a:stretch>
            <a:fillRect/>
          </a:stretch>
        </p:blipFill>
        <p:spPr>
          <a:xfrm>
            <a:off x="339005" y="2005409"/>
            <a:ext cx="4067175" cy="1590675"/>
          </a:xfrm>
          <a:prstGeom prst="rect">
            <a:avLst/>
          </a:prstGeom>
        </p:spPr>
      </p:pic>
      <p:sp>
        <p:nvSpPr>
          <p:cNvPr id="22" name="Rettangolo 21">
            <a:extLst>
              <a:ext uri="{FF2B5EF4-FFF2-40B4-BE49-F238E27FC236}">
                <a16:creationId xmlns:a16="http://schemas.microsoft.com/office/drawing/2014/main" id="{2BE3ADDA-F3CB-44BB-9473-7EC2313FB62F}"/>
              </a:ext>
            </a:extLst>
          </p:cNvPr>
          <p:cNvSpPr/>
          <p:nvPr/>
        </p:nvSpPr>
        <p:spPr>
          <a:xfrm>
            <a:off x="339005" y="1538181"/>
            <a:ext cx="10949612" cy="369332"/>
          </a:xfrm>
          <a:prstGeom prst="rect">
            <a:avLst/>
          </a:prstGeom>
        </p:spPr>
        <p:txBody>
          <a:bodyPr wrap="square" lIns="91440" tIns="45720" rIns="91440" bIns="45720" anchor="t">
            <a:spAutoFit/>
          </a:bodyPr>
          <a:lstStyle/>
          <a:p>
            <a:r>
              <a:rPr lang="it-IT" sz="1800" dirty="0">
                <a:latin typeface="CMR10"/>
              </a:rPr>
              <a:t>Creo l’annotazione custom</a:t>
            </a:r>
          </a:p>
        </p:txBody>
      </p:sp>
      <p:pic>
        <p:nvPicPr>
          <p:cNvPr id="17" name="Immagine 16">
            <a:extLst>
              <a:ext uri="{FF2B5EF4-FFF2-40B4-BE49-F238E27FC236}">
                <a16:creationId xmlns:a16="http://schemas.microsoft.com/office/drawing/2014/main" id="{39C4048B-718F-465F-B9CC-96D84855BF5F}"/>
              </a:ext>
            </a:extLst>
          </p:cNvPr>
          <p:cNvPicPr>
            <a:picLocks noChangeAspect="1"/>
          </p:cNvPicPr>
          <p:nvPr/>
        </p:nvPicPr>
        <p:blipFill>
          <a:blip r:embed="rId8"/>
          <a:stretch>
            <a:fillRect/>
          </a:stretch>
        </p:blipFill>
        <p:spPr>
          <a:xfrm>
            <a:off x="330616" y="5588517"/>
            <a:ext cx="5281908" cy="620388"/>
          </a:xfrm>
          <a:prstGeom prst="rect">
            <a:avLst/>
          </a:prstGeom>
        </p:spPr>
      </p:pic>
      <p:pic>
        <p:nvPicPr>
          <p:cNvPr id="23" name="Immagine 22">
            <a:extLst>
              <a:ext uri="{FF2B5EF4-FFF2-40B4-BE49-F238E27FC236}">
                <a16:creationId xmlns:a16="http://schemas.microsoft.com/office/drawing/2014/main" id="{2E349DE3-1BE1-4EC1-A644-60C2DF3AA65B}"/>
              </a:ext>
            </a:extLst>
          </p:cNvPr>
          <p:cNvPicPr>
            <a:picLocks noChangeAspect="1"/>
          </p:cNvPicPr>
          <p:nvPr/>
        </p:nvPicPr>
        <p:blipFill>
          <a:blip r:embed="rId9"/>
          <a:stretch>
            <a:fillRect/>
          </a:stretch>
        </p:blipFill>
        <p:spPr>
          <a:xfrm>
            <a:off x="6087279" y="5593824"/>
            <a:ext cx="5762788" cy="609774"/>
          </a:xfrm>
          <a:prstGeom prst="rect">
            <a:avLst/>
          </a:prstGeom>
        </p:spPr>
      </p:pic>
      <p:pic>
        <p:nvPicPr>
          <p:cNvPr id="24" name="Immagine 23">
            <a:extLst>
              <a:ext uri="{FF2B5EF4-FFF2-40B4-BE49-F238E27FC236}">
                <a16:creationId xmlns:a16="http://schemas.microsoft.com/office/drawing/2014/main" id="{6C2745CC-1C46-4D05-BE5A-50102B5003C1}"/>
              </a:ext>
            </a:extLst>
          </p:cNvPr>
          <p:cNvPicPr>
            <a:picLocks noChangeAspect="1"/>
          </p:cNvPicPr>
          <p:nvPr/>
        </p:nvPicPr>
        <p:blipFill>
          <a:blip r:embed="rId10"/>
          <a:stretch>
            <a:fillRect/>
          </a:stretch>
        </p:blipFill>
        <p:spPr>
          <a:xfrm>
            <a:off x="330616" y="3821497"/>
            <a:ext cx="6819900" cy="704850"/>
          </a:xfrm>
          <a:prstGeom prst="rect">
            <a:avLst/>
          </a:prstGeom>
        </p:spPr>
      </p:pic>
      <p:sp>
        <p:nvSpPr>
          <p:cNvPr id="25" name="Rettangolo 24">
            <a:extLst>
              <a:ext uri="{FF2B5EF4-FFF2-40B4-BE49-F238E27FC236}">
                <a16:creationId xmlns:a16="http://schemas.microsoft.com/office/drawing/2014/main" id="{D8E06BCE-616A-48B0-81EC-A99FA98A6EFF}"/>
              </a:ext>
            </a:extLst>
          </p:cNvPr>
          <p:cNvSpPr/>
          <p:nvPr/>
        </p:nvSpPr>
        <p:spPr>
          <a:xfrm>
            <a:off x="339005" y="5021609"/>
            <a:ext cx="10949612" cy="369332"/>
          </a:xfrm>
          <a:prstGeom prst="rect">
            <a:avLst/>
          </a:prstGeom>
        </p:spPr>
        <p:txBody>
          <a:bodyPr wrap="square" lIns="91440" tIns="45720" rIns="91440" bIns="45720" anchor="t">
            <a:spAutoFit/>
          </a:bodyPr>
          <a:lstStyle/>
          <a:p>
            <a:r>
              <a:rPr lang="it-IT" sz="1800" dirty="0">
                <a:latin typeface="CMR10"/>
              </a:rPr>
              <a:t>Alternativa con </a:t>
            </a:r>
            <a:r>
              <a:rPr lang="it-IT" sz="1800" dirty="0" err="1">
                <a:latin typeface="CMR10"/>
              </a:rPr>
              <a:t>Pointcut</a:t>
            </a:r>
            <a:endParaRPr lang="it-IT" sz="1800" dirty="0">
              <a:latin typeface="CMR10"/>
            </a:endParaRPr>
          </a:p>
        </p:txBody>
      </p:sp>
    </p:spTree>
    <p:extLst>
      <p:ext uri="{BB962C8B-B14F-4D97-AF65-F5344CB8AC3E}">
        <p14:creationId xmlns:p14="http://schemas.microsoft.com/office/powerpoint/2010/main" val="7198289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barn(inVertical)">
                                      <p:cBhvr>
                                        <p:cTn id="7" dur="500"/>
                                        <p:tgtEl>
                                          <p:spTgt spid="25"/>
                                        </p:tgtEl>
                                      </p:cBhvr>
                                    </p:animEffect>
                                  </p:childTnLst>
                                </p:cTn>
                              </p:par>
                              <p:par>
                                <p:cTn id="8" presetID="16" presetClass="entr" presetSubtype="21"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barn(inVertical)">
                                      <p:cBhvr>
                                        <p:cTn id="10" dur="500"/>
                                        <p:tgtEl>
                                          <p:spTgt spid="17"/>
                                        </p:tgtEl>
                                      </p:cBhvr>
                                    </p:animEffect>
                                  </p:childTnLst>
                                </p:cTn>
                              </p:par>
                              <p:par>
                                <p:cTn id="11" presetID="16" presetClass="entr" presetSubtype="21" fill="hold" nodeType="with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barn(inVertical)">
                                      <p:cBhvr>
                                        <p:cTn id="13"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ext uri="{D42A27DB-BD31-4B8C-83A1-F6EECF244321}">
                <p14:modId xmlns:p14="http://schemas.microsoft.com/office/powerpoint/2010/main" val="823033791"/>
              </p:ext>
            </p:ext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spid="_x0000_s279428"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5291" y="3902"/>
                        <a:ext cx="2116" cy="2116"/>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ES"/>
              <a:t>Grazie</a:t>
            </a:r>
          </a:p>
        </p:txBody>
      </p:sp>
      <p:sp>
        <p:nvSpPr>
          <p:cNvPr id="6" name="Content Placeholder 1">
            <a:extLst>
              <a:ext uri="{FF2B5EF4-FFF2-40B4-BE49-F238E27FC236}">
                <a16:creationId xmlns:a16="http://schemas.microsoft.com/office/drawing/2014/main" id="{CE417AD1-D863-EB4A-AF35-6B98DE57CAAA}"/>
              </a:ext>
            </a:extLst>
          </p:cNvPr>
          <p:cNvSpPr txBox="1">
            <a:spLocks/>
          </p:cNvSpPr>
          <p:nvPr/>
        </p:nvSpPr>
        <p:spPr>
          <a:xfrm>
            <a:off x="339000" y="5378580"/>
            <a:ext cx="7125152" cy="1146764"/>
          </a:xfrm>
          <a:prstGeom prst="rect">
            <a:avLst/>
          </a:prstGeom>
        </p:spPr>
        <p:txBody>
          <a:bodyPr lIns="0" numCol="3"/>
          <a:lstStyle>
            <a:lvl1pPr marL="0" indent="0" algn="l" defTabSz="913897" rtl="0" eaLnBrk="1" latinLnBrk="0" hangingPunct="1">
              <a:lnSpc>
                <a:spcPct val="90000"/>
              </a:lnSpc>
              <a:spcBef>
                <a:spcPts val="999"/>
              </a:spcBef>
              <a:buFont typeface="Arial" panose="020B0604020202020204" pitchFamily="34" charset="0"/>
              <a:buNone/>
              <a:defRPr sz="1000" b="0" i="0" kern="1200">
                <a:solidFill>
                  <a:schemeClr val="tx1"/>
                </a:solidFill>
                <a:latin typeface="Soho Gothic Pro Light" panose="020B0303030504020204" pitchFamily="34" charset="77"/>
                <a:ea typeface="+mn-ea"/>
                <a:cs typeface="+mn-cs"/>
              </a:defRPr>
            </a:lvl1pPr>
            <a:lvl2pPr marL="685423" indent="-228474" algn="l" defTabSz="913897"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371" indent="-228474" algn="l" defTabSz="913897"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320"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268"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217"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166"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114"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063" indent="-228474" algn="l" defTabSz="91389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lnSpc>
                <a:spcPct val="100000"/>
              </a:lnSpc>
              <a:spcBef>
                <a:spcPts val="600"/>
              </a:spcBef>
            </a:pPr>
            <a:r>
              <a:rPr lang="es-ES" dirty="0"/>
              <a:t>Presentazione:</a:t>
            </a:r>
          </a:p>
          <a:p>
            <a:pPr>
              <a:lnSpc>
                <a:spcPct val="100000"/>
              </a:lnSpc>
              <a:spcBef>
                <a:spcPts val="600"/>
              </a:spcBef>
            </a:pPr>
            <a:r>
              <a:rPr lang="es-ES" dirty="0"/>
              <a:t>Maurizio Minieri</a:t>
            </a:r>
          </a:p>
          <a:p>
            <a:pPr>
              <a:lnSpc>
                <a:spcPct val="100000"/>
              </a:lnSpc>
              <a:spcBef>
                <a:spcPts val="600"/>
              </a:spcBef>
            </a:pPr>
            <a:r>
              <a:rPr lang="es-ES" dirty="0"/>
              <a:t>nmminieri@minsait.com</a:t>
            </a:r>
          </a:p>
          <a:p>
            <a:pPr>
              <a:lnSpc>
                <a:spcPct val="100000"/>
              </a:lnSpc>
              <a:spcBef>
                <a:spcPts val="600"/>
              </a:spcBef>
            </a:pPr>
            <a:endParaRPr lang="es-ES" dirty="0"/>
          </a:p>
          <a:p>
            <a:pPr>
              <a:lnSpc>
                <a:spcPct val="100000"/>
              </a:lnSpc>
              <a:spcBef>
                <a:spcPts val="600"/>
              </a:spcBef>
            </a:pPr>
            <a:endParaRPr lang="es-ES" dirty="0"/>
          </a:p>
          <a:p>
            <a:pPr>
              <a:lnSpc>
                <a:spcPct val="100000"/>
              </a:lnSpc>
              <a:spcBef>
                <a:spcPts val="600"/>
              </a:spcBef>
            </a:pPr>
            <a:r>
              <a:rPr lang="es-ES" dirty="0"/>
              <a:t>Avda. de Bruselas 35</a:t>
            </a:r>
          </a:p>
          <a:p>
            <a:pPr>
              <a:lnSpc>
                <a:spcPct val="100000"/>
              </a:lnSpc>
              <a:spcBef>
                <a:spcPts val="600"/>
              </a:spcBef>
            </a:pPr>
            <a:r>
              <a:rPr lang="es-ES" dirty="0"/>
              <a:t>28108 Alcobendas,</a:t>
            </a:r>
          </a:p>
          <a:p>
            <a:pPr>
              <a:lnSpc>
                <a:spcPct val="100000"/>
              </a:lnSpc>
              <a:spcBef>
                <a:spcPts val="600"/>
              </a:spcBef>
            </a:pPr>
            <a:r>
              <a:rPr lang="es-ES" dirty="0"/>
              <a:t>Madrid España</a:t>
            </a:r>
          </a:p>
          <a:p>
            <a:pPr>
              <a:lnSpc>
                <a:spcPct val="100000"/>
              </a:lnSpc>
              <a:spcBef>
                <a:spcPts val="600"/>
              </a:spcBef>
            </a:pPr>
            <a:endParaRPr lang="es-ES" dirty="0"/>
          </a:p>
          <a:p>
            <a:pPr>
              <a:lnSpc>
                <a:spcPct val="100000"/>
              </a:lnSpc>
              <a:spcBef>
                <a:spcPts val="600"/>
              </a:spcBef>
            </a:pPr>
            <a:endParaRPr lang="es-ES" dirty="0"/>
          </a:p>
          <a:p>
            <a:pPr>
              <a:lnSpc>
                <a:spcPct val="100000"/>
              </a:lnSpc>
              <a:spcBef>
                <a:spcPts val="600"/>
              </a:spcBef>
            </a:pPr>
            <a:r>
              <a:rPr lang="es-ES" dirty="0"/>
              <a:t>T +34 91 480 50 00</a:t>
            </a:r>
          </a:p>
          <a:p>
            <a:pPr>
              <a:lnSpc>
                <a:spcPct val="100000"/>
              </a:lnSpc>
              <a:spcBef>
                <a:spcPts val="600"/>
              </a:spcBef>
            </a:pPr>
            <a:r>
              <a:rPr lang="es-ES" dirty="0"/>
              <a:t>F +34 91 480 50 80</a:t>
            </a:r>
          </a:p>
          <a:p>
            <a:pPr>
              <a:lnSpc>
                <a:spcPct val="100000"/>
              </a:lnSpc>
              <a:spcBef>
                <a:spcPts val="600"/>
              </a:spcBef>
            </a:pPr>
            <a:r>
              <a:rPr lang="es-ES" dirty="0"/>
              <a:t>www.minsait.com</a:t>
            </a:r>
          </a:p>
          <a:p>
            <a:pPr>
              <a:lnSpc>
                <a:spcPct val="100000"/>
              </a:lnSpc>
              <a:spcBef>
                <a:spcPts val="600"/>
              </a:spcBef>
            </a:pPr>
            <a:endParaRPr lang="es-ES" dirty="0"/>
          </a:p>
          <a:p>
            <a:pPr>
              <a:lnSpc>
                <a:spcPct val="100000"/>
              </a:lnSpc>
              <a:spcBef>
                <a:spcPts val="600"/>
              </a:spcBef>
            </a:pPr>
            <a:endParaRPr lang="es-ES" dirty="0"/>
          </a:p>
        </p:txBody>
      </p:sp>
    </p:spTree>
    <p:extLst>
      <p:ext uri="{BB962C8B-B14F-4D97-AF65-F5344CB8AC3E}">
        <p14:creationId xmlns:p14="http://schemas.microsoft.com/office/powerpoint/2010/main" val="16266315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408BF8B-7896-9648-B447-E9B094688D23}"/>
              </a:ext>
            </a:extLst>
          </p:cNvPr>
          <p:cNvPicPr>
            <a:picLocks noChangeAspect="1"/>
          </p:cNvPicPr>
          <p:nvPr/>
        </p:nvPicPr>
        <p:blipFill>
          <a:blip r:embed="rId2"/>
          <a:stretch>
            <a:fillRect/>
          </a:stretch>
        </p:blipFill>
        <p:spPr>
          <a:xfrm>
            <a:off x="3537014" y="2585145"/>
            <a:ext cx="5094279" cy="3063337"/>
          </a:xfrm>
          <a:prstGeom prst="rect">
            <a:avLst/>
          </a:prstGeom>
        </p:spPr>
      </p:pic>
    </p:spTree>
    <p:extLst>
      <p:ext uri="{BB962C8B-B14F-4D97-AF65-F5344CB8AC3E}">
        <p14:creationId xmlns:p14="http://schemas.microsoft.com/office/powerpoint/2010/main" val="15727129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spid="_x0000_s185446" name="Diapositiva de think-cell" r:id="rId6" imgW="270" imgH="270" progId="TCLayout.ActiveDocument.1">
                  <p:embed/>
                </p:oleObj>
              </mc:Choice>
              <mc:Fallback>
                <p:oleObj name="Diapositiva de think-cell" r:id="rId6" imgW="270" imgH="270" progId="TCLayout.ActiveDocument.1">
                  <p:embed/>
                  <p:pic>
                    <p:nvPicPr>
                      <p:cNvPr id="5" name="Objeto 4" hidden="1"/>
                      <p:cNvPicPr/>
                      <p:nvPr/>
                    </p:nvPicPr>
                    <p:blipFill>
                      <a:blip r:embed="rId7"/>
                      <a:stretch>
                        <a:fillRect/>
                      </a:stretch>
                    </p:blipFill>
                    <p:spPr>
                      <a:xfrm>
                        <a:off x="5291" y="3902"/>
                        <a:ext cx="2116" cy="2116"/>
                      </a:xfrm>
                      <a:prstGeom prst="rect">
                        <a:avLst/>
                      </a:prstGeom>
                    </p:spPr>
                  </p:pic>
                </p:oleObj>
              </mc:Fallback>
            </mc:AlternateContent>
          </a:graphicData>
        </a:graphic>
      </p:graphicFrame>
      <p:sp>
        <p:nvSpPr>
          <p:cNvPr id="2" name="Rectángulo 1" hidden="1"/>
          <p:cNvSpPr/>
          <p:nvPr>
            <p:custDataLst>
              <p:tags r:id="rId3"/>
            </p:custDataLst>
          </p:nvPr>
        </p:nvSpPr>
        <p:spPr>
          <a:xfrm>
            <a:off x="3175" y="1786"/>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4264">
              <a:latin typeface="Playfair Display" panose="00000500000000000000" pitchFamily="2" charset="0"/>
              <a:ea typeface="+mj-ea"/>
              <a:cs typeface="+mj-cs"/>
              <a:sym typeface="Playfair Display" panose="00000500000000000000" pitchFamily="2" charset="0"/>
            </a:endParaRPr>
          </a:p>
        </p:txBody>
      </p:sp>
      <p:sp>
        <p:nvSpPr>
          <p:cNvPr id="3" name="Título 2"/>
          <p:cNvSpPr>
            <a:spLocks noGrp="1"/>
          </p:cNvSpPr>
          <p:nvPr>
            <p:ph type="title"/>
          </p:nvPr>
        </p:nvSpPr>
        <p:spPr/>
        <p:txBody>
          <a:bodyPr/>
          <a:lstStyle/>
          <a:p>
            <a:r>
              <a:rPr lang="es-ES" dirty="0">
                <a:latin typeface="Playfair Display"/>
              </a:rPr>
              <a:t>AOP</a:t>
            </a:r>
            <a:endParaRPr lang="it-IT" dirty="0"/>
          </a:p>
        </p:txBody>
      </p:sp>
      <p:sp>
        <p:nvSpPr>
          <p:cNvPr id="4" name="Marcador de contenido 3"/>
          <p:cNvSpPr>
            <a:spLocks noGrp="1"/>
          </p:cNvSpPr>
          <p:nvPr>
            <p:ph sz="quarter" idx="11"/>
          </p:nvPr>
        </p:nvSpPr>
        <p:spPr/>
        <p:txBody>
          <a:bodyPr lIns="91440" tIns="45720" rIns="91440" bIns="45720" anchor="t"/>
          <a:lstStyle/>
          <a:p>
            <a:r>
              <a:rPr lang="es-ES" sz="15950" dirty="0">
                <a:latin typeface="Playfair Display"/>
              </a:rPr>
              <a:t>01</a:t>
            </a:r>
            <a:endParaRPr lang="en-US" dirty="0"/>
          </a:p>
        </p:txBody>
      </p:sp>
    </p:spTree>
    <p:extLst>
      <p:ext uri="{BB962C8B-B14F-4D97-AF65-F5344CB8AC3E}">
        <p14:creationId xmlns:p14="http://schemas.microsoft.com/office/powerpoint/2010/main" val="13785396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spid="_x0000_s228448"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5291" y="3902"/>
                        <a:ext cx="2116" cy="2116"/>
                      </a:xfrm>
                      <a:prstGeom prst="rect">
                        <a:avLst/>
                      </a:prstGeom>
                    </p:spPr>
                  </p:pic>
                </p:oleObj>
              </mc:Fallback>
            </mc:AlternateContent>
          </a:graphicData>
        </a:graphic>
      </p:graphicFrame>
      <p:sp>
        <p:nvSpPr>
          <p:cNvPr id="2" name="Rectángulo 1" hidden="1"/>
          <p:cNvSpPr/>
          <p:nvPr>
            <p:custDataLst>
              <p:tags r:id="rId3"/>
            </p:custDataLst>
          </p:nvPr>
        </p:nvSpPr>
        <p:spPr>
          <a:xfrm>
            <a:off x="3175" y="1786"/>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3198">
              <a:latin typeface="Playfair Display" panose="00000500000000000000" pitchFamily="2" charset="0"/>
              <a:ea typeface="+mj-ea"/>
              <a:cs typeface="+mj-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335120" y="590664"/>
            <a:ext cx="11519451" cy="919343"/>
          </a:xfrm>
        </p:spPr>
        <p:txBody>
          <a:bodyPr/>
          <a:lstStyle/>
          <a:p>
            <a:r>
              <a:rPr lang="en-US" dirty="0"/>
              <a:t>Aspect Oriented Programming</a:t>
            </a:r>
          </a:p>
        </p:txBody>
      </p:sp>
      <p:sp>
        <p:nvSpPr>
          <p:cNvPr id="7" name="AutoShape 8" descr="Your relational data. Objectively. - Hibernate ORM"/>
          <p:cNvSpPr>
            <a:spLocks noChangeAspect="1" noChangeArrowheads="1"/>
          </p:cNvSpPr>
          <p:nvPr/>
        </p:nvSpPr>
        <p:spPr bwMode="auto">
          <a:xfrm>
            <a:off x="155575" y="-503238"/>
            <a:ext cx="3924300" cy="10477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0" name="Rettangolo 9"/>
          <p:cNvSpPr/>
          <p:nvPr/>
        </p:nvSpPr>
        <p:spPr>
          <a:xfrm>
            <a:off x="334240" y="1468758"/>
            <a:ext cx="11477556" cy="2307298"/>
          </a:xfrm>
          <a:prstGeom prst="rect">
            <a:avLst/>
          </a:prstGeom>
        </p:spPr>
        <p:txBody>
          <a:bodyPr wrap="square">
            <a:spAutoFit/>
          </a:bodyPr>
          <a:lstStyle/>
          <a:p>
            <a:r>
              <a:rPr lang="it-IT" dirty="0"/>
              <a:t>Paradigma Orientato agli Aspetti, è un paradigma di programmazione potentissimo per gestire l’interazione tra oggetti, è complementare al paradigma orientato agli oggetti e permette di non sporcare il codice principale con funzionalità non strettamente appartenenti alla business </a:t>
            </a:r>
            <a:r>
              <a:rPr lang="it-IT" dirty="0" err="1"/>
              <a:t>logic</a:t>
            </a:r>
            <a:r>
              <a:rPr lang="it-IT" dirty="0"/>
              <a:t>. Si crea un insieme di metodi e tecniche per raggiungere l’obiettivo, a vantaggio della modularità del programma.</a:t>
            </a:r>
          </a:p>
          <a:p>
            <a:endParaRPr lang="it-IT" dirty="0"/>
          </a:p>
          <a:p>
            <a:r>
              <a:rPr lang="it-IT" dirty="0"/>
              <a:t>Es. avremo una classe </a:t>
            </a:r>
            <a:r>
              <a:rPr lang="it-IT" dirty="0" err="1"/>
              <a:t>SpringAspect</a:t>
            </a:r>
            <a:r>
              <a:rPr lang="it-IT" dirty="0"/>
              <a:t> pensata come “esterna” al progetto principale in cui ci saranno tutte le tecniche per accedere a tutti i metodi, ci basta quindi lavorare in questa classe e lasciare tutto il progetto così com’è.</a:t>
            </a:r>
          </a:p>
          <a:p>
            <a:endParaRPr lang="it-IT" dirty="0"/>
          </a:p>
        </p:txBody>
      </p:sp>
      <p:sp>
        <p:nvSpPr>
          <p:cNvPr id="11" name="Segnaposto testo 10">
            <a:extLst>
              <a:ext uri="{FF2B5EF4-FFF2-40B4-BE49-F238E27FC236}">
                <a16:creationId xmlns:a16="http://schemas.microsoft.com/office/drawing/2014/main" id="{1ACAED06-EE69-4E97-8EB0-633F5D6C2389}"/>
              </a:ext>
            </a:extLst>
          </p:cNvPr>
          <p:cNvSpPr>
            <a:spLocks noGrp="1"/>
          </p:cNvSpPr>
          <p:nvPr>
            <p:ph type="body" sz="quarter" idx="13"/>
          </p:nvPr>
        </p:nvSpPr>
        <p:spPr/>
        <p:txBody>
          <a:bodyPr/>
          <a:lstStyle/>
          <a:p>
            <a:endParaRPr lang="it-IT" dirty="0"/>
          </a:p>
        </p:txBody>
      </p:sp>
      <p:sp>
        <p:nvSpPr>
          <p:cNvPr id="8" name="Rettangolo 7">
            <a:extLst>
              <a:ext uri="{FF2B5EF4-FFF2-40B4-BE49-F238E27FC236}">
                <a16:creationId xmlns:a16="http://schemas.microsoft.com/office/drawing/2014/main" id="{ED5009B0-EFB0-4825-9983-B77E698C1844}"/>
              </a:ext>
            </a:extLst>
          </p:cNvPr>
          <p:cNvSpPr/>
          <p:nvPr/>
        </p:nvSpPr>
        <p:spPr>
          <a:xfrm>
            <a:off x="334240" y="4377264"/>
            <a:ext cx="11477556" cy="646074"/>
          </a:xfrm>
          <a:prstGeom prst="rect">
            <a:avLst/>
          </a:prstGeom>
        </p:spPr>
        <p:txBody>
          <a:bodyPr wrap="square">
            <a:spAutoFit/>
          </a:bodyPr>
          <a:lstStyle/>
          <a:p>
            <a:r>
              <a:rPr lang="it-IT" dirty="0"/>
              <a:t>Per usarlo ci sono più possibilità, due delle più utilizzate sono </a:t>
            </a:r>
            <a:r>
              <a:rPr lang="it-IT" b="1" dirty="0" err="1"/>
              <a:t>AspectJ</a:t>
            </a:r>
            <a:r>
              <a:rPr lang="it-IT" dirty="0"/>
              <a:t> e </a:t>
            </a:r>
            <a:r>
              <a:rPr lang="it-IT" b="1" dirty="0"/>
              <a:t>Spring AOP</a:t>
            </a:r>
          </a:p>
          <a:p>
            <a:endParaRPr lang="it-IT" dirty="0"/>
          </a:p>
        </p:txBody>
      </p:sp>
    </p:spTree>
    <p:extLst>
      <p:ext uri="{BB962C8B-B14F-4D97-AF65-F5344CB8AC3E}">
        <p14:creationId xmlns:p14="http://schemas.microsoft.com/office/powerpoint/2010/main" val="27548301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spid="_x0000_s303175"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5291" y="3902"/>
                        <a:ext cx="2116" cy="2116"/>
                      </a:xfrm>
                      <a:prstGeom prst="rect">
                        <a:avLst/>
                      </a:prstGeom>
                    </p:spPr>
                  </p:pic>
                </p:oleObj>
              </mc:Fallback>
            </mc:AlternateContent>
          </a:graphicData>
        </a:graphic>
      </p:graphicFrame>
      <p:sp>
        <p:nvSpPr>
          <p:cNvPr id="2" name="Rectángulo 1" hidden="1"/>
          <p:cNvSpPr/>
          <p:nvPr>
            <p:custDataLst>
              <p:tags r:id="rId3"/>
            </p:custDataLst>
          </p:nvPr>
        </p:nvSpPr>
        <p:spPr>
          <a:xfrm>
            <a:off x="3175" y="1786"/>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3198">
              <a:latin typeface="Playfair Display" panose="00000500000000000000" pitchFamily="2" charset="0"/>
              <a:ea typeface="+mj-ea"/>
              <a:cs typeface="+mj-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335120" y="590664"/>
            <a:ext cx="11519451" cy="919343"/>
          </a:xfrm>
        </p:spPr>
        <p:txBody>
          <a:bodyPr/>
          <a:lstStyle/>
          <a:p>
            <a:r>
              <a:rPr lang="en-US" dirty="0"/>
              <a:t>AspectJ</a:t>
            </a:r>
          </a:p>
        </p:txBody>
      </p:sp>
      <p:sp>
        <p:nvSpPr>
          <p:cNvPr id="7" name="AutoShape 8" descr="Your relational data. Objectively. - Hibernate ORM"/>
          <p:cNvSpPr>
            <a:spLocks noChangeAspect="1" noChangeArrowheads="1"/>
          </p:cNvSpPr>
          <p:nvPr/>
        </p:nvSpPr>
        <p:spPr bwMode="auto">
          <a:xfrm>
            <a:off x="155575" y="-503238"/>
            <a:ext cx="3924300" cy="10477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0" name="Rettangolo 9"/>
          <p:cNvSpPr/>
          <p:nvPr/>
        </p:nvSpPr>
        <p:spPr>
          <a:xfrm>
            <a:off x="334240" y="1468758"/>
            <a:ext cx="11477556" cy="3414781"/>
          </a:xfrm>
          <a:prstGeom prst="rect">
            <a:avLst/>
          </a:prstGeom>
        </p:spPr>
        <p:txBody>
          <a:bodyPr wrap="square">
            <a:spAutoFit/>
          </a:bodyPr>
          <a:lstStyle/>
          <a:p>
            <a:r>
              <a:rPr lang="it-IT" dirty="0"/>
              <a:t>Libreria di Java per aggiungere a Java stesso gli </a:t>
            </a:r>
            <a:r>
              <a:rPr lang="it-IT" i="1" dirty="0"/>
              <a:t>aspetti, r</a:t>
            </a:r>
            <a:r>
              <a:rPr lang="it-IT" dirty="0"/>
              <a:t>appresenta lo strumento primario, in ambito Java, per avvalersi della programmazione orientata agli aspetti.</a:t>
            </a:r>
          </a:p>
          <a:p>
            <a:endParaRPr lang="it-IT" dirty="0"/>
          </a:p>
          <a:p>
            <a:endParaRPr lang="it-IT" dirty="0"/>
          </a:p>
          <a:p>
            <a:endParaRPr lang="it-IT" dirty="0"/>
          </a:p>
          <a:p>
            <a:r>
              <a:rPr lang="it-IT" b="1" dirty="0"/>
              <a:t>Vantaggi</a:t>
            </a:r>
          </a:p>
          <a:p>
            <a:r>
              <a:rPr lang="it-IT" dirty="0"/>
              <a:t>Offre prestazioni migliori e non richiede Spring, ma per funzionare bisogna eseguire un processo chiamato </a:t>
            </a:r>
            <a:r>
              <a:rPr lang="it-IT" dirty="0" err="1"/>
              <a:t>weaving</a:t>
            </a:r>
            <a:r>
              <a:rPr lang="it-IT" dirty="0"/>
              <a:t> per aggiungere la funzionalità degli aspetti che trasformano il </a:t>
            </a:r>
            <a:r>
              <a:rPr lang="it-IT" dirty="0" err="1"/>
              <a:t>bytecode</a:t>
            </a:r>
            <a:r>
              <a:rPr lang="it-IT" dirty="0"/>
              <a:t> delle classi.</a:t>
            </a:r>
          </a:p>
          <a:p>
            <a:endParaRPr lang="it-IT" dirty="0"/>
          </a:p>
          <a:p>
            <a:r>
              <a:rPr lang="it-IT" b="1" dirty="0"/>
              <a:t>Svantaggi</a:t>
            </a:r>
          </a:p>
          <a:p>
            <a:r>
              <a:rPr lang="it-IT" dirty="0"/>
              <a:t>Più complesso e richiede un processo di post-compilazione da applicare alle classi.</a:t>
            </a:r>
          </a:p>
          <a:p>
            <a:endParaRPr lang="it-IT" dirty="0"/>
          </a:p>
        </p:txBody>
      </p:sp>
      <p:sp>
        <p:nvSpPr>
          <p:cNvPr id="11" name="Segnaposto testo 10">
            <a:extLst>
              <a:ext uri="{FF2B5EF4-FFF2-40B4-BE49-F238E27FC236}">
                <a16:creationId xmlns:a16="http://schemas.microsoft.com/office/drawing/2014/main" id="{1ACAED06-EE69-4E97-8EB0-633F5D6C2389}"/>
              </a:ext>
            </a:extLst>
          </p:cNvPr>
          <p:cNvSpPr>
            <a:spLocks noGrp="1"/>
          </p:cNvSpPr>
          <p:nvPr>
            <p:ph type="body" sz="quarter" idx="13"/>
          </p:nvPr>
        </p:nvSpPr>
        <p:spPr/>
        <p:txBody>
          <a:bodyPr/>
          <a:lstStyle/>
          <a:p>
            <a:endParaRPr lang="it-IT" dirty="0"/>
          </a:p>
        </p:txBody>
      </p:sp>
    </p:spTree>
    <p:extLst>
      <p:ext uri="{BB962C8B-B14F-4D97-AF65-F5344CB8AC3E}">
        <p14:creationId xmlns:p14="http://schemas.microsoft.com/office/powerpoint/2010/main" val="3893513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spid="_x0000_s219230"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5291" y="3902"/>
                        <a:ext cx="2116" cy="2116"/>
                      </a:xfrm>
                      <a:prstGeom prst="rect">
                        <a:avLst/>
                      </a:prstGeom>
                    </p:spPr>
                  </p:pic>
                </p:oleObj>
              </mc:Fallback>
            </mc:AlternateContent>
          </a:graphicData>
        </a:graphic>
      </p:graphicFrame>
      <p:sp>
        <p:nvSpPr>
          <p:cNvPr id="2" name="Rectángulo 1" hidden="1"/>
          <p:cNvSpPr/>
          <p:nvPr>
            <p:custDataLst>
              <p:tags r:id="rId3"/>
            </p:custDataLst>
          </p:nvPr>
        </p:nvSpPr>
        <p:spPr>
          <a:xfrm>
            <a:off x="3175" y="1786"/>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3198">
              <a:latin typeface="Playfair Display" panose="00000500000000000000" pitchFamily="2" charset="0"/>
              <a:ea typeface="+mj-ea"/>
              <a:cs typeface="+mj-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335120" y="590664"/>
            <a:ext cx="11519451" cy="919343"/>
          </a:xfrm>
        </p:spPr>
        <p:txBody>
          <a:bodyPr/>
          <a:lstStyle/>
          <a:p>
            <a:r>
              <a:rPr lang="es-ES" dirty="0"/>
              <a:t>Core Concepts</a:t>
            </a:r>
            <a:endParaRPr lang="en-US" dirty="0"/>
          </a:p>
        </p:txBody>
      </p:sp>
      <p:sp>
        <p:nvSpPr>
          <p:cNvPr id="7" name="AutoShape 8" descr="Your relational data. Objectively. - Hibernate ORM"/>
          <p:cNvSpPr>
            <a:spLocks noChangeAspect="1" noChangeArrowheads="1"/>
          </p:cNvSpPr>
          <p:nvPr/>
        </p:nvSpPr>
        <p:spPr bwMode="auto">
          <a:xfrm>
            <a:off x="155575" y="-503238"/>
            <a:ext cx="3924300" cy="10477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4" name="Marcador de contenido 2">
            <a:extLst>
              <a:ext uri="{FF2B5EF4-FFF2-40B4-BE49-F238E27FC236}">
                <a16:creationId xmlns:a16="http://schemas.microsoft.com/office/drawing/2014/main" id="{CB5097F2-D1CB-4827-911C-55F70230BA30}"/>
              </a:ext>
            </a:extLst>
          </p:cNvPr>
          <p:cNvSpPr txBox="1">
            <a:spLocks/>
          </p:cNvSpPr>
          <p:nvPr/>
        </p:nvSpPr>
        <p:spPr>
          <a:xfrm>
            <a:off x="528143" y="3429000"/>
            <a:ext cx="11326427" cy="1707304"/>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0" indent="0">
              <a:buNone/>
            </a:pPr>
            <a:r>
              <a:rPr lang="it-IT" sz="1800" b="1" dirty="0" err="1">
                <a:solidFill>
                  <a:schemeClr val="tx1"/>
                </a:solidFill>
                <a:latin typeface="+mn-lt"/>
              </a:rPr>
              <a:t>Pointcut</a:t>
            </a:r>
            <a:endParaRPr lang="it-IT" sz="1800" b="1" dirty="0">
              <a:solidFill>
                <a:schemeClr val="tx1"/>
              </a:solidFill>
              <a:latin typeface="+mn-lt"/>
            </a:endParaRPr>
          </a:p>
          <a:p>
            <a:pPr marL="0" indent="0">
              <a:buNone/>
            </a:pPr>
            <a:r>
              <a:rPr lang="it-IT" sz="1799" dirty="0">
                <a:solidFill>
                  <a:schemeClr val="tx1"/>
                </a:solidFill>
                <a:latin typeface="+mn-lt"/>
                <a:cs typeface="+mn-cs"/>
              </a:rPr>
              <a:t>Descrive le situazioni che si vengono a creare durante l’esecuzione del programma.</a:t>
            </a:r>
          </a:p>
          <a:p>
            <a:pPr marL="0" indent="0">
              <a:buNone/>
            </a:pPr>
            <a:r>
              <a:rPr lang="it-IT" sz="1799" dirty="0">
                <a:solidFill>
                  <a:schemeClr val="tx1"/>
                </a:solidFill>
                <a:latin typeface="+mn-lt"/>
                <a:cs typeface="+mn-cs"/>
              </a:rPr>
              <a:t>Si può definire un </a:t>
            </a:r>
            <a:r>
              <a:rPr lang="it-IT" sz="1799" dirty="0" err="1">
                <a:solidFill>
                  <a:schemeClr val="tx1"/>
                </a:solidFill>
                <a:latin typeface="+mn-lt"/>
                <a:cs typeface="+mn-cs"/>
              </a:rPr>
              <a:t>pointcut</a:t>
            </a:r>
            <a:r>
              <a:rPr lang="it-IT" sz="1799" dirty="0">
                <a:solidFill>
                  <a:schemeClr val="tx1"/>
                </a:solidFill>
                <a:latin typeface="+mn-lt"/>
                <a:cs typeface="+mn-cs"/>
              </a:rPr>
              <a:t> che sia valido quando un qualsiasi metodo della classe Apple viene chiamato, oppure quando un metodo di un oggetto della classe Apple chiama il metodo di un oggetto di classe Persona e così via.</a:t>
            </a:r>
            <a:endParaRPr lang="es-ES" sz="1800" dirty="0">
              <a:solidFill>
                <a:schemeClr val="tx1"/>
              </a:solidFill>
              <a:latin typeface="+mn-lt"/>
            </a:endParaRPr>
          </a:p>
          <a:p>
            <a:pPr marL="0" indent="0">
              <a:buNone/>
            </a:pPr>
            <a:endParaRPr lang="es-ES" sz="1800" dirty="0">
              <a:solidFill>
                <a:schemeClr val="tx1"/>
              </a:solidFill>
              <a:latin typeface="+mn-lt"/>
            </a:endParaRPr>
          </a:p>
          <a:p>
            <a:endParaRPr lang="es-ES" sz="1800" dirty="0">
              <a:solidFill>
                <a:schemeClr val="tx1"/>
              </a:solidFill>
              <a:latin typeface="+mn-lt"/>
            </a:endParaRPr>
          </a:p>
        </p:txBody>
      </p:sp>
      <p:sp>
        <p:nvSpPr>
          <p:cNvPr id="5" name="Segnaposto testo 4">
            <a:extLst>
              <a:ext uri="{FF2B5EF4-FFF2-40B4-BE49-F238E27FC236}">
                <a16:creationId xmlns:a16="http://schemas.microsoft.com/office/drawing/2014/main" id="{7F1EE742-2AF9-42DC-B015-EC1FAECE4A5F}"/>
              </a:ext>
            </a:extLst>
          </p:cNvPr>
          <p:cNvSpPr>
            <a:spLocks noGrp="1"/>
          </p:cNvSpPr>
          <p:nvPr>
            <p:ph type="body" sz="quarter" idx="13"/>
          </p:nvPr>
        </p:nvSpPr>
        <p:spPr/>
        <p:txBody>
          <a:bodyPr/>
          <a:lstStyle/>
          <a:p>
            <a:endParaRPr lang="it-IT" dirty="0"/>
          </a:p>
        </p:txBody>
      </p:sp>
      <p:sp>
        <p:nvSpPr>
          <p:cNvPr id="15" name="Marcador de contenido 2">
            <a:extLst>
              <a:ext uri="{FF2B5EF4-FFF2-40B4-BE49-F238E27FC236}">
                <a16:creationId xmlns:a16="http://schemas.microsoft.com/office/drawing/2014/main" id="{4FEE1337-532B-4C4E-B211-F0A1792DE678}"/>
              </a:ext>
            </a:extLst>
          </p:cNvPr>
          <p:cNvSpPr txBox="1">
            <a:spLocks/>
          </p:cNvSpPr>
          <p:nvPr/>
        </p:nvSpPr>
        <p:spPr>
          <a:xfrm>
            <a:off x="528145" y="1323841"/>
            <a:ext cx="11326426" cy="1389838"/>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0" indent="0">
              <a:buNone/>
            </a:pPr>
            <a:r>
              <a:rPr lang="it-IT" sz="1800" b="1" dirty="0" err="1">
                <a:solidFill>
                  <a:schemeClr val="tx1"/>
                </a:solidFill>
                <a:latin typeface="+mn-lt"/>
              </a:rPr>
              <a:t>Joinpoint</a:t>
            </a:r>
            <a:endParaRPr lang="it-IT" sz="1800" b="1" dirty="0">
              <a:solidFill>
                <a:schemeClr val="tx1"/>
              </a:solidFill>
              <a:latin typeface="+mn-lt"/>
            </a:endParaRPr>
          </a:p>
          <a:p>
            <a:pPr marL="0" indent="0">
              <a:buNone/>
            </a:pPr>
            <a:r>
              <a:rPr lang="it-IT" sz="1799" dirty="0">
                <a:solidFill>
                  <a:schemeClr val="tx1"/>
                </a:solidFill>
                <a:latin typeface="+mn-lt"/>
                <a:cs typeface="+mn-cs"/>
              </a:rPr>
              <a:t>Certo istante nell’esecuzione del programma. Ogni chiamata a un qualsiasi metodo, leggere o modificare il valore di una variabile, creare un oggetto ecc. </a:t>
            </a:r>
          </a:p>
          <a:p>
            <a:pPr marL="0" indent="0">
              <a:buNone/>
            </a:pPr>
            <a:r>
              <a:rPr lang="it-IT" sz="1799" dirty="0">
                <a:solidFill>
                  <a:schemeClr val="tx1"/>
                </a:solidFill>
                <a:latin typeface="+mn-lt"/>
                <a:cs typeface="+mn-cs"/>
              </a:rPr>
              <a:t>In Spring AOP è solo l’esecuzione di un metodo della business </a:t>
            </a:r>
            <a:r>
              <a:rPr lang="it-IT" sz="1799" dirty="0" err="1">
                <a:solidFill>
                  <a:schemeClr val="tx1"/>
                </a:solidFill>
                <a:latin typeface="+mn-lt"/>
                <a:cs typeface="+mn-cs"/>
              </a:rPr>
              <a:t>logic</a:t>
            </a:r>
            <a:r>
              <a:rPr lang="it-IT" sz="1799" dirty="0">
                <a:solidFill>
                  <a:schemeClr val="tx1"/>
                </a:solidFill>
                <a:latin typeface="+mn-lt"/>
                <a:cs typeface="+mn-cs"/>
              </a:rPr>
              <a:t>, si usa come parametro del metodo</a:t>
            </a:r>
            <a:endParaRPr lang="it-IT" sz="1800" dirty="0">
              <a:solidFill>
                <a:schemeClr val="tx1"/>
              </a:solidFill>
              <a:latin typeface="+mn-lt"/>
            </a:endParaRPr>
          </a:p>
          <a:p>
            <a:pPr marL="0" indent="0">
              <a:buNone/>
            </a:pPr>
            <a:r>
              <a:rPr lang="it-IT" sz="1800" dirty="0">
                <a:solidFill>
                  <a:schemeClr val="tx1"/>
                </a:solidFill>
                <a:latin typeface="+mn-lt"/>
              </a:rPr>
              <a:t> </a:t>
            </a:r>
            <a:endParaRPr lang="es-ES" sz="1800" dirty="0">
              <a:solidFill>
                <a:schemeClr val="tx1"/>
              </a:solidFill>
              <a:latin typeface="+mn-lt"/>
            </a:endParaRPr>
          </a:p>
          <a:p>
            <a:pPr marL="0" indent="0">
              <a:buNone/>
            </a:pPr>
            <a:endParaRPr lang="es-ES" sz="1800" dirty="0">
              <a:solidFill>
                <a:schemeClr val="tx1"/>
              </a:solidFill>
              <a:latin typeface="+mn-lt"/>
            </a:endParaRPr>
          </a:p>
          <a:p>
            <a:endParaRPr lang="es-ES" sz="1800" dirty="0">
              <a:solidFill>
                <a:schemeClr val="tx1"/>
              </a:solidFill>
              <a:latin typeface="+mn-lt"/>
            </a:endParaRPr>
          </a:p>
        </p:txBody>
      </p:sp>
    </p:spTree>
    <p:extLst>
      <p:ext uri="{BB962C8B-B14F-4D97-AF65-F5344CB8AC3E}">
        <p14:creationId xmlns:p14="http://schemas.microsoft.com/office/powerpoint/2010/main" val="25622040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spid="_x0000_s304203"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5291" y="3902"/>
                        <a:ext cx="2116" cy="2116"/>
                      </a:xfrm>
                      <a:prstGeom prst="rect">
                        <a:avLst/>
                      </a:prstGeom>
                    </p:spPr>
                  </p:pic>
                </p:oleObj>
              </mc:Fallback>
            </mc:AlternateContent>
          </a:graphicData>
        </a:graphic>
      </p:graphicFrame>
      <p:sp>
        <p:nvSpPr>
          <p:cNvPr id="2" name="Rectángulo 1" hidden="1"/>
          <p:cNvSpPr/>
          <p:nvPr>
            <p:custDataLst>
              <p:tags r:id="rId3"/>
            </p:custDataLst>
          </p:nvPr>
        </p:nvSpPr>
        <p:spPr>
          <a:xfrm>
            <a:off x="3175" y="1786"/>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3198">
              <a:latin typeface="Playfair Display" panose="00000500000000000000" pitchFamily="2" charset="0"/>
              <a:ea typeface="+mj-ea"/>
              <a:cs typeface="+mj-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335120" y="590664"/>
            <a:ext cx="11519451" cy="919343"/>
          </a:xfrm>
        </p:spPr>
        <p:txBody>
          <a:bodyPr/>
          <a:lstStyle/>
          <a:p>
            <a:r>
              <a:rPr lang="es-ES" dirty="0"/>
              <a:t>Core Concepts</a:t>
            </a:r>
            <a:endParaRPr lang="en-US" dirty="0"/>
          </a:p>
        </p:txBody>
      </p:sp>
      <p:sp>
        <p:nvSpPr>
          <p:cNvPr id="7" name="AutoShape 8" descr="Your relational data. Objectively. - Hibernate ORM"/>
          <p:cNvSpPr>
            <a:spLocks noChangeAspect="1" noChangeArrowheads="1"/>
          </p:cNvSpPr>
          <p:nvPr/>
        </p:nvSpPr>
        <p:spPr bwMode="auto">
          <a:xfrm>
            <a:off x="155575" y="-503238"/>
            <a:ext cx="3924300" cy="10477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8" name="Marcador de contenido 2">
            <a:extLst>
              <a:ext uri="{FF2B5EF4-FFF2-40B4-BE49-F238E27FC236}">
                <a16:creationId xmlns:a16="http://schemas.microsoft.com/office/drawing/2014/main" id="{8FFCB682-A2FC-CA4B-AF1F-9B44DC3872A4}"/>
              </a:ext>
            </a:extLst>
          </p:cNvPr>
          <p:cNvSpPr txBox="1">
            <a:spLocks/>
          </p:cNvSpPr>
          <p:nvPr/>
        </p:nvSpPr>
        <p:spPr>
          <a:xfrm>
            <a:off x="547026" y="3400910"/>
            <a:ext cx="11302780" cy="919343"/>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0" indent="0">
              <a:buNone/>
            </a:pPr>
            <a:r>
              <a:rPr lang="it-IT" sz="1800" b="1" dirty="0">
                <a:solidFill>
                  <a:schemeClr val="tx1"/>
                </a:solidFill>
                <a:latin typeface="+mn-lt"/>
              </a:rPr>
              <a:t>Aspect</a:t>
            </a:r>
          </a:p>
          <a:p>
            <a:pPr marL="0" indent="0">
              <a:buNone/>
            </a:pPr>
            <a:r>
              <a:rPr lang="it-IT" sz="1799" dirty="0">
                <a:solidFill>
                  <a:schemeClr val="tx1"/>
                </a:solidFill>
                <a:latin typeface="+mn-lt"/>
                <a:cs typeface="+mn-cs"/>
              </a:rPr>
              <a:t>Classe che si occupa di funzionalità trasversali al progetto. Le unità elementari dell’OOP sono gli oggetti mentre le unità elementari dell’AOP sono gli aspetti. </a:t>
            </a:r>
            <a:endParaRPr lang="it-IT" sz="1800" dirty="0">
              <a:solidFill>
                <a:schemeClr val="tx1"/>
              </a:solidFill>
              <a:latin typeface="+mn-lt"/>
            </a:endParaRPr>
          </a:p>
          <a:p>
            <a:pPr marL="0" indent="0">
              <a:buNone/>
            </a:pPr>
            <a:r>
              <a:rPr lang="it-IT" sz="1800" dirty="0">
                <a:solidFill>
                  <a:schemeClr val="tx1"/>
                </a:solidFill>
                <a:latin typeface="+mn-lt"/>
              </a:rPr>
              <a:t> </a:t>
            </a:r>
            <a:endParaRPr lang="es-ES" sz="1800" dirty="0">
              <a:solidFill>
                <a:schemeClr val="tx1"/>
              </a:solidFill>
              <a:latin typeface="+mn-lt"/>
            </a:endParaRPr>
          </a:p>
          <a:p>
            <a:pPr marL="0" indent="0">
              <a:buNone/>
            </a:pPr>
            <a:endParaRPr lang="es-ES" sz="1800" dirty="0">
              <a:solidFill>
                <a:schemeClr val="tx1"/>
              </a:solidFill>
              <a:latin typeface="+mn-lt"/>
            </a:endParaRPr>
          </a:p>
          <a:p>
            <a:endParaRPr lang="es-ES" sz="1800" dirty="0">
              <a:solidFill>
                <a:schemeClr val="tx1"/>
              </a:solidFill>
              <a:latin typeface="+mn-lt"/>
            </a:endParaRPr>
          </a:p>
        </p:txBody>
      </p:sp>
      <p:sp>
        <p:nvSpPr>
          <p:cNvPr id="5" name="Segnaposto testo 4">
            <a:extLst>
              <a:ext uri="{FF2B5EF4-FFF2-40B4-BE49-F238E27FC236}">
                <a16:creationId xmlns:a16="http://schemas.microsoft.com/office/drawing/2014/main" id="{7F1EE742-2AF9-42DC-B015-EC1FAECE4A5F}"/>
              </a:ext>
            </a:extLst>
          </p:cNvPr>
          <p:cNvSpPr>
            <a:spLocks noGrp="1"/>
          </p:cNvSpPr>
          <p:nvPr>
            <p:ph type="body" sz="quarter" idx="13"/>
          </p:nvPr>
        </p:nvSpPr>
        <p:spPr/>
        <p:txBody>
          <a:bodyPr/>
          <a:lstStyle/>
          <a:p>
            <a:endParaRPr lang="it-IT"/>
          </a:p>
        </p:txBody>
      </p:sp>
      <p:sp>
        <p:nvSpPr>
          <p:cNvPr id="15" name="Marcador de contenido 2">
            <a:extLst>
              <a:ext uri="{FF2B5EF4-FFF2-40B4-BE49-F238E27FC236}">
                <a16:creationId xmlns:a16="http://schemas.microsoft.com/office/drawing/2014/main" id="{9985F293-76B6-4BED-B20D-02CB76F67B72}"/>
              </a:ext>
            </a:extLst>
          </p:cNvPr>
          <p:cNvSpPr txBox="1">
            <a:spLocks/>
          </p:cNvSpPr>
          <p:nvPr/>
        </p:nvSpPr>
        <p:spPr>
          <a:xfrm>
            <a:off x="551792" y="1343298"/>
            <a:ext cx="11298013" cy="919343"/>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0" indent="0">
              <a:buNone/>
            </a:pPr>
            <a:r>
              <a:rPr lang="it-IT" sz="1800" b="1" dirty="0">
                <a:solidFill>
                  <a:schemeClr val="tx1"/>
                </a:solidFill>
                <a:latin typeface="+mn-lt"/>
              </a:rPr>
              <a:t> </a:t>
            </a:r>
            <a:r>
              <a:rPr lang="it-IT" sz="1800" b="1" dirty="0" err="1">
                <a:solidFill>
                  <a:schemeClr val="tx1"/>
                </a:solidFill>
                <a:latin typeface="+mn-lt"/>
              </a:rPr>
              <a:t>Advice</a:t>
            </a:r>
            <a:endParaRPr lang="it-IT" sz="1800" b="1" dirty="0">
              <a:solidFill>
                <a:schemeClr val="tx1"/>
              </a:solidFill>
              <a:latin typeface="+mn-lt"/>
            </a:endParaRPr>
          </a:p>
          <a:p>
            <a:pPr marL="0" indent="0">
              <a:buNone/>
            </a:pPr>
            <a:r>
              <a:rPr lang="it-IT" sz="1799" dirty="0">
                <a:solidFill>
                  <a:schemeClr val="tx1"/>
                </a:solidFill>
                <a:latin typeface="+mn-lt"/>
                <a:cs typeface="+mn-cs"/>
              </a:rPr>
              <a:t> Azione intrapresa dal </a:t>
            </a:r>
            <a:r>
              <a:rPr lang="it-IT" sz="1799" dirty="0" err="1">
                <a:solidFill>
                  <a:schemeClr val="tx1"/>
                </a:solidFill>
                <a:latin typeface="+mn-lt"/>
                <a:cs typeface="+mn-cs"/>
              </a:rPr>
              <a:t>Joinpoint</a:t>
            </a:r>
            <a:r>
              <a:rPr lang="it-IT" sz="1799" dirty="0">
                <a:solidFill>
                  <a:schemeClr val="tx1"/>
                </a:solidFill>
                <a:latin typeface="+mn-lt"/>
                <a:cs typeface="+mn-cs"/>
              </a:rPr>
              <a:t> quando diventa valido, ci sono vari tipi ma i più usati sono</a:t>
            </a:r>
            <a:endParaRPr lang="it-IT" sz="1800" dirty="0">
              <a:solidFill>
                <a:schemeClr val="tx1"/>
              </a:solidFill>
              <a:latin typeface="+mn-lt"/>
            </a:endParaRPr>
          </a:p>
          <a:p>
            <a:pPr marL="0" indent="0">
              <a:buNone/>
            </a:pPr>
            <a:r>
              <a:rPr lang="it-IT" sz="1800" dirty="0">
                <a:solidFill>
                  <a:schemeClr val="tx1"/>
                </a:solidFill>
                <a:latin typeface="+mn-lt"/>
              </a:rPr>
              <a:t> </a:t>
            </a:r>
            <a:endParaRPr lang="es-ES" sz="1800" dirty="0">
              <a:solidFill>
                <a:schemeClr val="tx1"/>
              </a:solidFill>
              <a:latin typeface="+mn-lt"/>
            </a:endParaRPr>
          </a:p>
          <a:p>
            <a:pPr marL="0" indent="0">
              <a:buNone/>
            </a:pPr>
            <a:endParaRPr lang="es-ES" sz="1800" dirty="0">
              <a:solidFill>
                <a:schemeClr val="tx1"/>
              </a:solidFill>
              <a:latin typeface="+mn-lt"/>
            </a:endParaRPr>
          </a:p>
          <a:p>
            <a:endParaRPr lang="es-ES" sz="1800" dirty="0">
              <a:solidFill>
                <a:schemeClr val="tx1"/>
              </a:solidFill>
              <a:latin typeface="+mn-lt"/>
            </a:endParaRPr>
          </a:p>
        </p:txBody>
      </p:sp>
      <p:sp>
        <p:nvSpPr>
          <p:cNvPr id="16" name="CasellaDiTesto 15">
            <a:extLst>
              <a:ext uri="{FF2B5EF4-FFF2-40B4-BE49-F238E27FC236}">
                <a16:creationId xmlns:a16="http://schemas.microsoft.com/office/drawing/2014/main" id="{65C3E635-86C1-44E1-89FB-8CCE92A7D140}"/>
              </a:ext>
            </a:extLst>
          </p:cNvPr>
          <p:cNvSpPr txBox="1"/>
          <p:nvPr/>
        </p:nvSpPr>
        <p:spPr>
          <a:xfrm>
            <a:off x="547026" y="2097173"/>
            <a:ext cx="8611425" cy="90024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sz="1750" noProof="1">
                <a:ea typeface="+mn-lt"/>
                <a:cs typeface="+mn-lt"/>
              </a:rPr>
              <a:t>Around (massimo controllo con ProceedingJoinPoint)</a:t>
            </a:r>
          </a:p>
          <a:p>
            <a:pPr marL="285750" indent="-285750">
              <a:buFont typeface="Arial"/>
              <a:buChar char="•"/>
            </a:pPr>
            <a:r>
              <a:rPr lang="en-US" sz="1750" noProof="1">
                <a:ea typeface="+mn-lt"/>
                <a:cs typeface="+mn-lt"/>
              </a:rPr>
              <a:t>Before</a:t>
            </a:r>
          </a:p>
          <a:p>
            <a:pPr marL="285750" indent="-285750">
              <a:buFont typeface="Arial"/>
              <a:buChar char="•"/>
            </a:pPr>
            <a:r>
              <a:rPr lang="en-US" sz="1750" noProof="1">
                <a:ea typeface="+mn-lt"/>
                <a:cs typeface="+mn-lt"/>
              </a:rPr>
              <a:t>After</a:t>
            </a:r>
          </a:p>
        </p:txBody>
      </p:sp>
    </p:spTree>
    <p:extLst>
      <p:ext uri="{BB962C8B-B14F-4D97-AF65-F5344CB8AC3E}">
        <p14:creationId xmlns:p14="http://schemas.microsoft.com/office/powerpoint/2010/main" val="395144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spid="_x0000_s157785" name="Diapositiva de think-cell" r:id="rId5" imgW="270" imgH="270" progId="TCLayout.ActiveDocument.1">
                  <p:embed/>
                </p:oleObj>
              </mc:Choice>
              <mc:Fallback>
                <p:oleObj name="Diapositiva de think-cell" r:id="rId5" imgW="270" imgH="270" progId="TCLayout.ActiveDocument.1">
                  <p:embed/>
                  <p:pic>
                    <p:nvPicPr>
                      <p:cNvPr id="5" name="Objeto 4" hidden="1"/>
                      <p:cNvPicPr/>
                      <p:nvPr/>
                    </p:nvPicPr>
                    <p:blipFill>
                      <a:blip r:embed="rId6"/>
                      <a:stretch>
                        <a:fillRect/>
                      </a:stretch>
                    </p:blipFill>
                    <p:spPr>
                      <a:xfrm>
                        <a:off x="5291" y="3902"/>
                        <a:ext cx="2116" cy="2116"/>
                      </a:xfrm>
                      <a:prstGeom prst="rect">
                        <a:avLst/>
                      </a:prstGeom>
                    </p:spPr>
                  </p:pic>
                </p:oleObj>
              </mc:Fallback>
            </mc:AlternateContent>
          </a:graphicData>
        </a:graphic>
      </p:graphicFrame>
      <p:sp>
        <p:nvSpPr>
          <p:cNvPr id="2" name="Rectángulo 1" hidden="1"/>
          <p:cNvSpPr/>
          <p:nvPr>
            <p:custDataLst>
              <p:tags r:id="rId3"/>
            </p:custDataLst>
          </p:nvPr>
        </p:nvSpPr>
        <p:spPr>
          <a:xfrm>
            <a:off x="3175" y="1786"/>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4264">
              <a:latin typeface="Playfair Display" panose="00000500000000000000" pitchFamily="2" charset="0"/>
              <a:ea typeface="+mj-ea"/>
              <a:cs typeface="+mj-cs"/>
              <a:sym typeface="Playfair Display" panose="00000500000000000000" pitchFamily="2" charset="0"/>
            </a:endParaRPr>
          </a:p>
        </p:txBody>
      </p:sp>
      <p:sp>
        <p:nvSpPr>
          <p:cNvPr id="3" name="Título 2"/>
          <p:cNvSpPr>
            <a:spLocks noGrp="1"/>
          </p:cNvSpPr>
          <p:nvPr>
            <p:ph type="title"/>
          </p:nvPr>
        </p:nvSpPr>
        <p:spPr/>
        <p:txBody>
          <a:bodyPr/>
          <a:lstStyle/>
          <a:p>
            <a:r>
              <a:rPr lang="it-IT" dirty="0"/>
              <a:t>Spring AOP</a:t>
            </a:r>
            <a:endParaRPr lang="es-ES" dirty="0"/>
          </a:p>
        </p:txBody>
      </p:sp>
      <p:sp>
        <p:nvSpPr>
          <p:cNvPr id="4" name="Marcador de contenido 3"/>
          <p:cNvSpPr>
            <a:spLocks noGrp="1"/>
          </p:cNvSpPr>
          <p:nvPr>
            <p:ph sz="quarter" idx="11"/>
          </p:nvPr>
        </p:nvSpPr>
        <p:spPr/>
        <p:txBody>
          <a:bodyPr lIns="91440" tIns="45720" rIns="91440" bIns="45720" anchor="t"/>
          <a:lstStyle/>
          <a:p>
            <a:r>
              <a:rPr lang="es-ES" sz="15950" dirty="0">
                <a:latin typeface="Playfair Display"/>
              </a:rPr>
              <a:t>02</a:t>
            </a:r>
            <a:endParaRPr lang="en-US" dirty="0"/>
          </a:p>
        </p:txBody>
      </p:sp>
    </p:spTree>
    <p:extLst>
      <p:ext uri="{BB962C8B-B14F-4D97-AF65-F5344CB8AC3E}">
        <p14:creationId xmlns:p14="http://schemas.microsoft.com/office/powerpoint/2010/main" val="5375469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spid="_x0000_s246878"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5291" y="3902"/>
                        <a:ext cx="2116" cy="2116"/>
                      </a:xfrm>
                      <a:prstGeom prst="rect">
                        <a:avLst/>
                      </a:prstGeom>
                    </p:spPr>
                  </p:pic>
                </p:oleObj>
              </mc:Fallback>
            </mc:AlternateContent>
          </a:graphicData>
        </a:graphic>
      </p:graphicFrame>
      <p:sp>
        <p:nvSpPr>
          <p:cNvPr id="2" name="Rectángulo 1" hidden="1"/>
          <p:cNvSpPr/>
          <p:nvPr>
            <p:custDataLst>
              <p:tags r:id="rId3"/>
            </p:custDataLst>
          </p:nvPr>
        </p:nvSpPr>
        <p:spPr>
          <a:xfrm>
            <a:off x="3175" y="1786"/>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3198"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336001" y="649095"/>
            <a:ext cx="1871568" cy="403641"/>
          </a:xfrm>
        </p:spPr>
        <p:txBody>
          <a:bodyPr/>
          <a:lstStyle/>
          <a:p>
            <a:r>
              <a:rPr lang="it-IT" dirty="0"/>
              <a:t>Spring AOP</a:t>
            </a:r>
            <a:endParaRPr lang="en-US" dirty="0"/>
          </a:p>
        </p:txBody>
      </p:sp>
      <p:sp>
        <p:nvSpPr>
          <p:cNvPr id="5" name="Marcador de contenido 2">
            <a:extLst>
              <a:ext uri="{FF2B5EF4-FFF2-40B4-BE49-F238E27FC236}">
                <a16:creationId xmlns:a16="http://schemas.microsoft.com/office/drawing/2014/main" id="{8FFCB682-A2FC-CA4B-AF1F-9B44DC3872A4}"/>
              </a:ext>
            </a:extLst>
          </p:cNvPr>
          <p:cNvSpPr txBox="1">
            <a:spLocks/>
          </p:cNvSpPr>
          <p:nvPr/>
        </p:nvSpPr>
        <p:spPr>
          <a:xfrm>
            <a:off x="339005" y="1510007"/>
            <a:ext cx="8838145" cy="3359153"/>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0" marR="0" lvl="0" indent="0" algn="l" defTabSz="514337"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s-ES" sz="1800" b="0" i="0" u="none" strike="noStrike" kern="1200" cap="none" spc="0" normalizeH="0" baseline="0" noProof="0">
              <a:ln>
                <a:noFill/>
              </a:ln>
              <a:solidFill>
                <a:srgbClr val="1A3B47"/>
              </a:solidFill>
              <a:effectLst/>
              <a:uLnTx/>
              <a:uFillTx/>
              <a:latin typeface="Soho Gothic Pro Light"/>
              <a:ea typeface="+mn-ea"/>
            </a:endParaRPr>
          </a:p>
        </p:txBody>
      </p:sp>
      <p:sp>
        <p:nvSpPr>
          <p:cNvPr id="10" name="Marcador de contenido 2">
            <a:extLst>
              <a:ext uri="{FF2B5EF4-FFF2-40B4-BE49-F238E27FC236}">
                <a16:creationId xmlns:a16="http://schemas.microsoft.com/office/drawing/2014/main" id="{8FFCB682-A2FC-CA4B-AF1F-9B44DC3872A4}"/>
              </a:ext>
            </a:extLst>
          </p:cNvPr>
          <p:cNvSpPr txBox="1">
            <a:spLocks/>
          </p:cNvSpPr>
          <p:nvPr/>
        </p:nvSpPr>
        <p:spPr>
          <a:xfrm>
            <a:off x="334811" y="1510007"/>
            <a:ext cx="8838145" cy="1342930"/>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0" marR="0" lvl="0" indent="0" algn="l" defTabSz="514337"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it-IT" sz="1800" b="0" i="0" u="none" strike="noStrike" kern="1200" cap="none" spc="0" normalizeH="0" baseline="0" noProof="0">
              <a:ln>
                <a:noFill/>
              </a:ln>
              <a:solidFill>
                <a:srgbClr val="1A3B47"/>
              </a:solidFill>
              <a:effectLst/>
              <a:uLnTx/>
              <a:uFillTx/>
              <a:latin typeface="Soho Gothic Pro Light"/>
              <a:ea typeface="+mn-ea"/>
            </a:endParaRPr>
          </a:p>
        </p:txBody>
      </p:sp>
      <p:sp>
        <p:nvSpPr>
          <p:cNvPr id="4" name="Rettangolo 3"/>
          <p:cNvSpPr/>
          <p:nvPr/>
        </p:nvSpPr>
        <p:spPr>
          <a:xfrm>
            <a:off x="339005" y="1510007"/>
            <a:ext cx="11513990" cy="2031325"/>
          </a:xfrm>
          <a:prstGeom prst="rect">
            <a:avLst/>
          </a:prstGeom>
        </p:spPr>
        <p:txBody>
          <a:bodyPr wrap="square" lIns="91440" tIns="45720" rIns="91440" bIns="45720" anchor="t">
            <a:spAutoFit/>
          </a:bodyPr>
          <a:lstStyle/>
          <a:p>
            <a:r>
              <a:rPr lang="it-IT" sz="1800" dirty="0">
                <a:latin typeface="CMR10"/>
              </a:rPr>
              <a:t>Framework di Spring per permettere la programmazione agli aspetti tramite la creazione di proxy. Anche se il contenitore </a:t>
            </a:r>
            <a:r>
              <a:rPr lang="it-IT" sz="1800" dirty="0" err="1">
                <a:latin typeface="CMR10"/>
              </a:rPr>
              <a:t>IoC</a:t>
            </a:r>
            <a:r>
              <a:rPr lang="it-IT" sz="1800" dirty="0">
                <a:latin typeface="CMR10"/>
              </a:rPr>
              <a:t> non dipende da AOP, AOP integra Spring </a:t>
            </a:r>
            <a:r>
              <a:rPr lang="it-IT" sz="1800" dirty="0" err="1">
                <a:latin typeface="CMR10"/>
              </a:rPr>
              <a:t>IoC</a:t>
            </a:r>
            <a:r>
              <a:rPr lang="it-IT" sz="1800" dirty="0">
                <a:latin typeface="CMR10"/>
              </a:rPr>
              <a:t> per fornire una soluzione molto comoda. </a:t>
            </a:r>
          </a:p>
          <a:p>
            <a:r>
              <a:rPr lang="it-IT" sz="1800" dirty="0">
                <a:latin typeface="CMR10"/>
              </a:rPr>
              <a:t>Anche Spring utilizza modi semplici per scrivere aspetti personalizzati utilizzando uno stile di annotazione @</a:t>
            </a:r>
            <a:r>
              <a:rPr lang="it-IT" sz="1800" dirty="0" err="1">
                <a:latin typeface="CMR10"/>
              </a:rPr>
              <a:t>ApectJ</a:t>
            </a:r>
            <a:endParaRPr lang="it-IT" sz="1800" dirty="0">
              <a:latin typeface="CMR10"/>
            </a:endParaRPr>
          </a:p>
          <a:p>
            <a:endParaRPr lang="it-IT" sz="1800" dirty="0">
              <a:latin typeface="CMR10"/>
            </a:endParaRPr>
          </a:p>
          <a:p>
            <a:endParaRPr lang="it-IT" sz="1800" dirty="0">
              <a:latin typeface="CMR10"/>
            </a:endParaRPr>
          </a:p>
          <a:p>
            <a:r>
              <a:rPr lang="it-IT" sz="1800" dirty="0">
                <a:latin typeface="CMR10"/>
              </a:rPr>
              <a:t>Non richiede il processo di </a:t>
            </a:r>
            <a:r>
              <a:rPr lang="it-IT" sz="1800" dirty="0" err="1">
                <a:latin typeface="CMR10"/>
              </a:rPr>
              <a:t>weaving</a:t>
            </a:r>
            <a:r>
              <a:rPr lang="it-IT" sz="1800" dirty="0">
                <a:latin typeface="CMR10"/>
              </a:rPr>
              <a:t> ma è più limitato.</a:t>
            </a:r>
          </a:p>
          <a:p>
            <a:r>
              <a:rPr lang="it-IT" sz="1800" dirty="0">
                <a:latin typeface="CMR10"/>
              </a:rPr>
              <a:t>Non compete con </a:t>
            </a:r>
            <a:r>
              <a:rPr lang="it-IT" sz="1800" dirty="0" err="1">
                <a:latin typeface="CMR10"/>
              </a:rPr>
              <a:t>AspectJ</a:t>
            </a:r>
            <a:r>
              <a:rPr lang="it-IT" sz="1800" dirty="0">
                <a:latin typeface="CMR10"/>
              </a:rPr>
              <a:t>, è un suo complemento.</a:t>
            </a:r>
          </a:p>
        </p:txBody>
      </p:sp>
      <p:sp>
        <p:nvSpPr>
          <p:cNvPr id="8" name="Segnaposto testo 7">
            <a:extLst>
              <a:ext uri="{FF2B5EF4-FFF2-40B4-BE49-F238E27FC236}">
                <a16:creationId xmlns:a16="http://schemas.microsoft.com/office/drawing/2014/main" id="{AECA5DBF-0B08-4ED4-8B86-55FCA257C0AF}"/>
              </a:ext>
            </a:extLst>
          </p:cNvPr>
          <p:cNvSpPr>
            <a:spLocks noGrp="1"/>
          </p:cNvSpPr>
          <p:nvPr>
            <p:ph type="body" sz="quarter" idx="13"/>
          </p:nvPr>
        </p:nvSpPr>
        <p:spPr/>
        <p:txBody>
          <a:bodyPr/>
          <a:lstStyle/>
          <a:p>
            <a:endParaRPr lang="it-IT"/>
          </a:p>
        </p:txBody>
      </p:sp>
    </p:spTree>
    <p:extLst>
      <p:ext uri="{BB962C8B-B14F-4D97-AF65-F5344CB8AC3E}">
        <p14:creationId xmlns:p14="http://schemas.microsoft.com/office/powerpoint/2010/main" val="31207042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5291" y="3902"/>
          <a:ext cx="2116" cy="2116"/>
        </p:xfrm>
        <a:graphic>
          <a:graphicData uri="http://schemas.openxmlformats.org/presentationml/2006/ole">
            <mc:AlternateContent xmlns:mc="http://schemas.openxmlformats.org/markup-compatibility/2006">
              <mc:Choice xmlns:v="urn:schemas-microsoft-com:vml" Requires="v">
                <p:oleObj spid="_x0000_s313375"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5291" y="3902"/>
                        <a:ext cx="2116" cy="2116"/>
                      </a:xfrm>
                      <a:prstGeom prst="rect">
                        <a:avLst/>
                      </a:prstGeom>
                    </p:spPr>
                  </p:pic>
                </p:oleObj>
              </mc:Fallback>
            </mc:AlternateContent>
          </a:graphicData>
        </a:graphic>
      </p:graphicFrame>
      <p:sp>
        <p:nvSpPr>
          <p:cNvPr id="2" name="Rectángulo 1" hidden="1"/>
          <p:cNvSpPr/>
          <p:nvPr>
            <p:custDataLst>
              <p:tags r:id="rId3"/>
            </p:custDataLst>
          </p:nvPr>
        </p:nvSpPr>
        <p:spPr>
          <a:xfrm>
            <a:off x="3175" y="1786"/>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3790" rtl="0" eaLnBrk="1" fontAlgn="auto" latinLnBrk="0" hangingPunct="1">
              <a:lnSpc>
                <a:spcPct val="90000"/>
              </a:lnSpc>
              <a:spcBef>
                <a:spcPct val="0"/>
              </a:spcBef>
              <a:spcAft>
                <a:spcPct val="0"/>
              </a:spcAft>
              <a:buClrTx/>
              <a:buSzTx/>
              <a:buFontTx/>
              <a:buNone/>
              <a:tabLst/>
              <a:defRPr/>
            </a:pPr>
            <a:endParaRPr kumimoji="0" lang="es-ES" sz="3198" b="0" i="0" u="none" strike="noStrike" kern="1200" cap="none" spc="0" normalizeH="0" baseline="0" noProof="0">
              <a:ln>
                <a:noFill/>
              </a:ln>
              <a:solidFill>
                <a:srgbClr val="FFFFFF"/>
              </a:solidFill>
              <a:effectLst/>
              <a:uLnTx/>
              <a:uFillTx/>
              <a:latin typeface="Playfair Display" panose="00000500000000000000" pitchFamily="2" charset="0"/>
              <a:ea typeface="+mn-ea"/>
              <a:cs typeface="+mn-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336001" y="649095"/>
            <a:ext cx="1871568" cy="403641"/>
          </a:xfrm>
        </p:spPr>
        <p:txBody>
          <a:bodyPr/>
          <a:lstStyle/>
          <a:p>
            <a:r>
              <a:rPr lang="it-IT" dirty="0"/>
              <a:t>Proxy</a:t>
            </a:r>
            <a:endParaRPr lang="en-US" dirty="0"/>
          </a:p>
        </p:txBody>
      </p:sp>
      <p:sp>
        <p:nvSpPr>
          <p:cNvPr id="10" name="Marcador de contenido 2">
            <a:extLst>
              <a:ext uri="{FF2B5EF4-FFF2-40B4-BE49-F238E27FC236}">
                <a16:creationId xmlns:a16="http://schemas.microsoft.com/office/drawing/2014/main" id="{8FFCB682-A2FC-CA4B-AF1F-9B44DC3872A4}"/>
              </a:ext>
            </a:extLst>
          </p:cNvPr>
          <p:cNvSpPr txBox="1">
            <a:spLocks/>
          </p:cNvSpPr>
          <p:nvPr/>
        </p:nvSpPr>
        <p:spPr>
          <a:xfrm>
            <a:off x="334811" y="1510007"/>
            <a:ext cx="8838145" cy="1342930"/>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0" marR="0" lvl="0" indent="0" algn="l" defTabSz="514337"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it-IT" sz="1800" b="0" i="0" u="none" strike="noStrike" kern="1200" cap="none" spc="0" normalizeH="0" baseline="0" noProof="0">
              <a:ln>
                <a:noFill/>
              </a:ln>
              <a:solidFill>
                <a:srgbClr val="1A3B47"/>
              </a:solidFill>
              <a:effectLst/>
              <a:uLnTx/>
              <a:uFillTx/>
              <a:latin typeface="Soho Gothic Pro Light"/>
              <a:ea typeface="+mn-ea"/>
            </a:endParaRPr>
          </a:p>
        </p:txBody>
      </p:sp>
      <p:sp>
        <p:nvSpPr>
          <p:cNvPr id="11" name="Marcador de contenido 2">
            <a:extLst>
              <a:ext uri="{FF2B5EF4-FFF2-40B4-BE49-F238E27FC236}">
                <a16:creationId xmlns:a16="http://schemas.microsoft.com/office/drawing/2014/main" id="{8FFCB682-A2FC-CA4B-AF1F-9B44DC3872A4}"/>
              </a:ext>
            </a:extLst>
          </p:cNvPr>
          <p:cNvSpPr txBox="1">
            <a:spLocks/>
          </p:cNvSpPr>
          <p:nvPr/>
        </p:nvSpPr>
        <p:spPr>
          <a:xfrm>
            <a:off x="334811" y="1510007"/>
            <a:ext cx="11305805" cy="4151241"/>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pPr marL="171450" marR="0" lvl="0" indent="-171450" algn="l" defTabSz="514337" rtl="0" eaLnBrk="1" fontAlgn="auto" latinLnBrk="0" hangingPunct="1">
              <a:lnSpc>
                <a:spcPct val="100000"/>
              </a:lnSpc>
              <a:spcBef>
                <a:spcPts val="600"/>
              </a:spcBef>
              <a:spcAft>
                <a:spcPts val="0"/>
              </a:spcAft>
              <a:buClrTx/>
              <a:buSzTx/>
              <a:buFont typeface="Wingdings" panose="05000000000000000000" pitchFamily="2" charset="2"/>
              <a:buChar char="§"/>
              <a:tabLst/>
              <a:defRPr/>
            </a:pPr>
            <a:endParaRPr kumimoji="0" lang="es-ES" sz="1800" b="0" i="0" u="none" strike="noStrike" kern="1200" cap="none" spc="0" normalizeH="0" baseline="0" noProof="0" dirty="0">
              <a:ln>
                <a:noFill/>
              </a:ln>
              <a:solidFill>
                <a:srgbClr val="1A3B47"/>
              </a:solidFill>
              <a:effectLst/>
              <a:uLnTx/>
              <a:uFillTx/>
              <a:latin typeface="Soho Gothic Pro Light"/>
              <a:ea typeface="+mn-ea"/>
            </a:endParaRPr>
          </a:p>
        </p:txBody>
      </p:sp>
      <p:sp>
        <p:nvSpPr>
          <p:cNvPr id="4" name="Rettangolo 3"/>
          <p:cNvSpPr/>
          <p:nvPr/>
        </p:nvSpPr>
        <p:spPr>
          <a:xfrm>
            <a:off x="339005" y="1510007"/>
            <a:ext cx="11516446" cy="1477328"/>
          </a:xfrm>
          <a:prstGeom prst="rect">
            <a:avLst/>
          </a:prstGeom>
        </p:spPr>
        <p:txBody>
          <a:bodyPr wrap="square" lIns="91440" tIns="45720" rIns="91440" bIns="45720" anchor="t">
            <a:spAutoFit/>
          </a:bodyPr>
          <a:lstStyle/>
          <a:p>
            <a:r>
              <a:rPr lang="it-IT" sz="1800" dirty="0">
                <a:latin typeface="CMR10"/>
              </a:rPr>
              <a:t>Un oggetto che esegue il </a:t>
            </a:r>
            <a:r>
              <a:rPr lang="it-IT" sz="1800" dirty="0" err="1">
                <a:latin typeface="CMR10"/>
              </a:rPr>
              <a:t>wrapping</a:t>
            </a:r>
            <a:r>
              <a:rPr lang="it-IT" sz="1800" dirty="0">
                <a:latin typeface="CMR10"/>
              </a:rPr>
              <a:t> di un altro oggetto mantenendo la sua interfaccia e fornendo facoltativamente funzionalità aggiuntive.</a:t>
            </a:r>
          </a:p>
          <a:p>
            <a:r>
              <a:rPr lang="it-IT" sz="1800" dirty="0">
                <a:latin typeface="CMR10"/>
              </a:rPr>
              <a:t>Quando chiamiamo un metodo il proxy può semplicemente delegare alla classe di implementazione o fare cose prima, dopo o intorno la delega.</a:t>
            </a:r>
          </a:p>
          <a:p>
            <a:endParaRPr lang="it-IT" sz="1800" dirty="0">
              <a:latin typeface="CMR10"/>
            </a:endParaRPr>
          </a:p>
        </p:txBody>
      </p:sp>
      <p:sp>
        <p:nvSpPr>
          <p:cNvPr id="8" name="Segnaposto testo 7">
            <a:extLst>
              <a:ext uri="{FF2B5EF4-FFF2-40B4-BE49-F238E27FC236}">
                <a16:creationId xmlns:a16="http://schemas.microsoft.com/office/drawing/2014/main" id="{AECA5DBF-0B08-4ED4-8B86-55FCA257C0AF}"/>
              </a:ext>
            </a:extLst>
          </p:cNvPr>
          <p:cNvSpPr>
            <a:spLocks noGrp="1"/>
          </p:cNvSpPr>
          <p:nvPr>
            <p:ph type="body" sz="quarter" idx="13"/>
          </p:nvPr>
        </p:nvSpPr>
        <p:spPr/>
        <p:txBody>
          <a:bodyPr/>
          <a:lstStyle/>
          <a:p>
            <a:endParaRPr lang="it-IT"/>
          </a:p>
        </p:txBody>
      </p:sp>
      <p:pic>
        <p:nvPicPr>
          <p:cNvPr id="13" name="Immagine 12">
            <a:extLst>
              <a:ext uri="{FF2B5EF4-FFF2-40B4-BE49-F238E27FC236}">
                <a16:creationId xmlns:a16="http://schemas.microsoft.com/office/drawing/2014/main" id="{A081C08A-5A2A-45E7-A0E2-F4F45B26BFD9}"/>
              </a:ext>
            </a:extLst>
          </p:cNvPr>
          <p:cNvPicPr>
            <a:picLocks noChangeAspect="1"/>
          </p:cNvPicPr>
          <p:nvPr/>
        </p:nvPicPr>
        <p:blipFill>
          <a:blip r:embed="rId7"/>
          <a:stretch>
            <a:fillRect/>
          </a:stretch>
        </p:blipFill>
        <p:spPr>
          <a:xfrm>
            <a:off x="2760337" y="3040914"/>
            <a:ext cx="6670775" cy="3057439"/>
          </a:xfrm>
          <a:prstGeom prst="rect">
            <a:avLst/>
          </a:prstGeom>
        </p:spPr>
      </p:pic>
    </p:spTree>
    <p:extLst>
      <p:ext uri="{BB962C8B-B14F-4D97-AF65-F5344CB8AC3E}">
        <p14:creationId xmlns:p14="http://schemas.microsoft.com/office/powerpoint/2010/main" val="1700343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cTjW6fRS3C2H6NBcEie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cTjW6fRS3C2H6NBcEieI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bvPNXYAZQHi06ICKl3UmS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cTjW6fRS3C2H6NBcEieI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5V9hlEM7StWywm5YGpOiP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5V9hlEM7StWywm5YGpOiP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heme/theme1.xml><?xml version="1.0" encoding="utf-8"?>
<a:theme xmlns:a="http://schemas.openxmlformats.org/drawingml/2006/main" name="Portadas">
  <a:themeElements>
    <a:clrScheme name="Minsait">
      <a:dk1>
        <a:srgbClr val="1A3B47"/>
      </a:dk1>
      <a:lt1>
        <a:srgbClr val="FFFFFF"/>
      </a:lt1>
      <a:dk2>
        <a:srgbClr val="FDE3D3"/>
      </a:dk2>
      <a:lt2>
        <a:srgbClr val="E7E6E6"/>
      </a:lt2>
      <a:accent1>
        <a:srgbClr val="FFEA80"/>
      </a:accent1>
      <a:accent2>
        <a:srgbClr val="F7AC6F"/>
      </a:accent2>
      <a:accent3>
        <a:srgbClr val="E88AA2"/>
      </a:accent3>
      <a:accent4>
        <a:srgbClr val="79C5B3"/>
      </a:accent4>
      <a:accent5>
        <a:srgbClr val="639FCB"/>
      </a:accent5>
      <a:accent6>
        <a:srgbClr val="7874B3"/>
      </a:accent6>
      <a:hlink>
        <a:srgbClr val="E88AA2"/>
      </a:hlink>
      <a:folHlink>
        <a:srgbClr val="F7AC6F"/>
      </a:folHlink>
    </a:clrScheme>
    <a:fontScheme name="Personalizado 3">
      <a:majorFont>
        <a:latin typeface="Playfair Display"/>
        <a:ea typeface=""/>
        <a:cs typeface=""/>
      </a:majorFont>
      <a:minorFont>
        <a:latin typeface="Soho Gothic Pro Light"/>
        <a:ea typeface=""/>
        <a:cs typeface=""/>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_Minsait_externa_03102018" id="{5C41357B-7313-429A-8D70-51EB5220553A}" vid="{D77268EC-2466-4A95-A82B-DEA9D01E7CF1}"/>
    </a:ext>
  </a:extLst>
</a:theme>
</file>

<file path=ppt/theme/theme2.xml><?xml version="1.0" encoding="utf-8"?>
<a:theme xmlns:a="http://schemas.openxmlformats.org/drawingml/2006/main" name="1_Portadas">
  <a:themeElements>
    <a:clrScheme name="Minsait">
      <a:dk1>
        <a:srgbClr val="1A3B47"/>
      </a:dk1>
      <a:lt1>
        <a:srgbClr val="FFFFFF"/>
      </a:lt1>
      <a:dk2>
        <a:srgbClr val="FDE3D3"/>
      </a:dk2>
      <a:lt2>
        <a:srgbClr val="E7E6E6"/>
      </a:lt2>
      <a:accent1>
        <a:srgbClr val="FFEA80"/>
      </a:accent1>
      <a:accent2>
        <a:srgbClr val="F7AC6F"/>
      </a:accent2>
      <a:accent3>
        <a:srgbClr val="E88AA2"/>
      </a:accent3>
      <a:accent4>
        <a:srgbClr val="79C5B3"/>
      </a:accent4>
      <a:accent5>
        <a:srgbClr val="639FCB"/>
      </a:accent5>
      <a:accent6>
        <a:srgbClr val="7874B3"/>
      </a:accent6>
      <a:hlink>
        <a:srgbClr val="E88AA2"/>
      </a:hlink>
      <a:folHlink>
        <a:srgbClr val="F7AC6F"/>
      </a:folHlink>
    </a:clrScheme>
    <a:fontScheme name="Personalizado 3">
      <a:majorFont>
        <a:latin typeface="Playfair Display"/>
        <a:ea typeface=""/>
        <a:cs typeface=""/>
      </a:majorFont>
      <a:minorFont>
        <a:latin typeface="Soho Gothic Pro Light"/>
        <a:ea typeface=""/>
        <a:cs typeface=""/>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_Minsait_externa_03102018" id="{5C41357B-7313-429A-8D70-51EB5220553A}" vid="{D77268EC-2466-4A95-A82B-DEA9D01E7CF1}"/>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dfd22395-f71b-4bd1-a2f9-8e9041de1c58">
      <UserInfo>
        <DisplayName/>
        <AccountId xsi:nil="true"/>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o" ma:contentTypeID="0x01010028C80E1E71FC9F4291944F82D62B1FE3" ma:contentTypeVersion="9" ma:contentTypeDescription="Creare un nuovo documento." ma:contentTypeScope="" ma:versionID="0ec118227a9727928a477d3584e693d3">
  <xsd:schema xmlns:xsd="http://www.w3.org/2001/XMLSchema" xmlns:xs="http://www.w3.org/2001/XMLSchema" xmlns:p="http://schemas.microsoft.com/office/2006/metadata/properties" xmlns:ns2="a83b5405-e6ee-4321-a63f-bb53c1243725" xmlns:ns3="dfd22395-f71b-4bd1-a2f9-8e9041de1c58" targetNamespace="http://schemas.microsoft.com/office/2006/metadata/properties" ma:root="true" ma:fieldsID="ddd8f27c417eacdee2c6ac8ef05bcb4f" ns2:_="" ns3:_="">
    <xsd:import namespace="a83b5405-e6ee-4321-a63f-bb53c1243725"/>
    <xsd:import namespace="dfd22395-f71b-4bd1-a2f9-8e9041de1c5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3b5405-e6ee-4321-a63f-bb53c124372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fd22395-f71b-4bd1-a2f9-8e9041de1c58" elementFormDefault="qualified">
    <xsd:import namespace="http://schemas.microsoft.com/office/2006/documentManagement/types"/>
    <xsd:import namespace="http://schemas.microsoft.com/office/infopath/2007/PartnerControls"/>
    <xsd:element name="SharedWithUsers" ma:index="14"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Condiviso con dettagli"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EB5C951-6563-44BE-B617-07287D5BE99A}">
  <ds:schemaRefs>
    <ds:schemaRef ds:uri="http://schemas.microsoft.com/sharepoint/v3/contenttype/forms"/>
  </ds:schemaRefs>
</ds:datastoreItem>
</file>

<file path=customXml/itemProps2.xml><?xml version="1.0" encoding="utf-8"?>
<ds:datastoreItem xmlns:ds="http://schemas.openxmlformats.org/officeDocument/2006/customXml" ds:itemID="{E929A4F6-045C-49D5-B4E0-B7393C0DB78E}">
  <ds:schemaRefs>
    <ds:schemaRef ds:uri="http://purl.org/dc/dcmitype/"/>
    <ds:schemaRef ds:uri="http://purl.org/dc/terms/"/>
    <ds:schemaRef ds:uri="http://purl.org/dc/elements/1.1/"/>
    <ds:schemaRef ds:uri="dfd22395-f71b-4bd1-a2f9-8e9041de1c58"/>
    <ds:schemaRef ds:uri="http://schemas.microsoft.com/office/2006/metadata/properties"/>
    <ds:schemaRef ds:uri="a83b5405-e6ee-4321-a63f-bb53c1243725"/>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1D045C86-DE08-4E23-A37D-7FB13CA05B8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3b5405-e6ee-4321-a63f-bb53c1243725"/>
    <ds:schemaRef ds:uri="dfd22395-f71b-4bd1-a2f9-8e9041de1c5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_Minsait_externa_03102018 (3)</Template>
  <TotalTime>2030</TotalTime>
  <Words>943</Words>
  <Application>Microsoft Office PowerPoint</Application>
  <PresentationFormat>Widescreen</PresentationFormat>
  <Paragraphs>132</Paragraphs>
  <Slides>19</Slides>
  <Notes>1</Notes>
  <HiddenSlides>0</HiddenSlides>
  <MMClips>0</MMClips>
  <ScaleCrop>false</ScaleCrop>
  <HeadingPairs>
    <vt:vector size="8" baseType="variant">
      <vt:variant>
        <vt:lpstr>Caratteri utilizzati</vt:lpstr>
      </vt:variant>
      <vt:variant>
        <vt:i4>6</vt:i4>
      </vt:variant>
      <vt:variant>
        <vt:lpstr>Tema</vt:lpstr>
      </vt:variant>
      <vt:variant>
        <vt:i4>2</vt:i4>
      </vt:variant>
      <vt:variant>
        <vt:lpstr>Server OLE incorporati</vt:lpstr>
      </vt:variant>
      <vt:variant>
        <vt:i4>1</vt:i4>
      </vt:variant>
      <vt:variant>
        <vt:lpstr>Titoli diapositive</vt:lpstr>
      </vt:variant>
      <vt:variant>
        <vt:i4>19</vt:i4>
      </vt:variant>
    </vt:vector>
  </HeadingPairs>
  <TitlesOfParts>
    <vt:vector size="28" baseType="lpstr">
      <vt:lpstr>Arial</vt:lpstr>
      <vt:lpstr>CMR10</vt:lpstr>
      <vt:lpstr>Playfair Display</vt:lpstr>
      <vt:lpstr>Soho Gothic Pro</vt:lpstr>
      <vt:lpstr>Soho Gothic Pro Light</vt:lpstr>
      <vt:lpstr>Wingdings</vt:lpstr>
      <vt:lpstr>Portadas</vt:lpstr>
      <vt:lpstr>1_Portadas</vt:lpstr>
      <vt:lpstr>Diapositiva de think-cell</vt:lpstr>
      <vt:lpstr>SPRING AOP</vt:lpstr>
      <vt:lpstr>AOP</vt:lpstr>
      <vt:lpstr>Aspect Oriented Programming</vt:lpstr>
      <vt:lpstr>AspectJ</vt:lpstr>
      <vt:lpstr>Core Concepts</vt:lpstr>
      <vt:lpstr>Core Concepts</vt:lpstr>
      <vt:lpstr>Spring AOP</vt:lpstr>
      <vt:lpstr>Spring AOP</vt:lpstr>
      <vt:lpstr>Proxy</vt:lpstr>
      <vt:lpstr>Designatori pointcut</vt:lpstr>
      <vt:lpstr>Esempi</vt:lpstr>
      <vt:lpstr>Esempi</vt:lpstr>
      <vt:lpstr>Esempi</vt:lpstr>
      <vt:lpstr>Esempi</vt:lpstr>
      <vt:lpstr>Esempi </vt:lpstr>
      <vt:lpstr>Esempi </vt:lpstr>
      <vt:lpstr>Esempi </vt:lpstr>
      <vt:lpstr>Grazie</vt:lpstr>
      <vt:lpstr>Presentazione standard di PowerPoint</vt:lpstr>
    </vt:vector>
  </TitlesOfParts>
  <Company>Indra Sistemas S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externa</dc:title>
  <dc:creator>Paramo Muñiz, Jose Luis</dc:creator>
  <cp:lastModifiedBy>Minieri, Maurizio</cp:lastModifiedBy>
  <cp:revision>905</cp:revision>
  <cp:lastPrinted>2018-09-05T10:32:03Z</cp:lastPrinted>
  <dcterms:created xsi:type="dcterms:W3CDTF">2020-07-10T07:37:50Z</dcterms:created>
  <dcterms:modified xsi:type="dcterms:W3CDTF">2022-12-06T10:50: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683100</vt:r8>
  </property>
  <property fmtid="{D5CDD505-2E9C-101B-9397-08002B2CF9AE}" pid="3" name="ContentTypeId">
    <vt:lpwstr>0x01010028C80E1E71FC9F4291944F82D62B1FE3</vt:lpwstr>
  </property>
  <property fmtid="{D5CDD505-2E9C-101B-9397-08002B2CF9AE}" pid="4" name="ComplianceAssetId">
    <vt:lpwstr/>
  </property>
  <property fmtid="{D5CDD505-2E9C-101B-9397-08002B2CF9AE}" pid="5" name="_ExtendedDescription">
    <vt:lpwstr/>
  </property>
</Properties>
</file>